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8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9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0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11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1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3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14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theme/theme15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16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4"/>
    <p:sldMasterId id="2147483661" r:id="rId5"/>
    <p:sldMasterId id="2147483712" r:id="rId6"/>
    <p:sldMasterId id="2147483731" r:id="rId7"/>
    <p:sldMasterId id="2147483748" r:id="rId8"/>
    <p:sldMasterId id="2147483765" r:id="rId9"/>
    <p:sldMasterId id="2147483782" r:id="rId10"/>
    <p:sldMasterId id="2147483799" r:id="rId11"/>
    <p:sldMasterId id="2147483836" r:id="rId12"/>
    <p:sldMasterId id="2147483856" r:id="rId13"/>
    <p:sldMasterId id="2147483876" r:id="rId14"/>
    <p:sldMasterId id="2147483893" r:id="rId15"/>
    <p:sldMasterId id="2147483914" r:id="rId16"/>
    <p:sldMasterId id="2147483931" r:id="rId17"/>
    <p:sldMasterId id="2147483948" r:id="rId18"/>
  </p:sldMasterIdLst>
  <p:notesMasterIdLst>
    <p:notesMasterId r:id="rId20"/>
  </p:notesMasterIdLst>
  <p:sldIdLst>
    <p:sldId id="2147375272" r:id="rId19"/>
  </p:sldIdLst>
  <p:sldSz cx="12192000" cy="6858000"/>
  <p:notesSz cx="6797675" cy="987425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6A4DD683-CB88-8447-BDC7-93C62DDB1796}">
          <p14:sldIdLst>
            <p14:sldId id="2147375272"/>
          </p14:sldIdLst>
        </p14:section>
        <p14:section name="Övrigt" id="{2CC5E574-0E6A-F046-A7F5-87AFD9D9D40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341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5F6F6"/>
    <a:srgbClr val="FFF1E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780"/>
    <p:restoredTop sz="95610"/>
  </p:normalViewPr>
  <p:slideViewPr>
    <p:cSldViewPr snapToGrid="0">
      <p:cViewPr varScale="1">
        <p:scale>
          <a:sx n="106" d="100"/>
          <a:sy n="106" d="100"/>
        </p:scale>
        <p:origin x="1184" y="176"/>
      </p:cViewPr>
      <p:guideLst>
        <p:guide orient="horz" pos="2341"/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68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5261" tIns="47631" rIns="95261" bIns="47631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5261" tIns="47631" rIns="95261" bIns="47631" rtlCol="0"/>
          <a:lstStyle>
            <a:lvl1pPr algn="r">
              <a:defRPr sz="1200"/>
            </a:lvl1pPr>
          </a:lstStyle>
          <a:p>
            <a:fld id="{36CB456C-8EA3-9242-A5F1-959BC1493095}" type="datetimeFigureOut">
              <a:rPr lang="sv-SE" smtClean="0"/>
              <a:t>2021-08-17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2963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61" tIns="47631" rIns="95261" bIns="47631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5261" tIns="47631" rIns="95261" bIns="47631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5"/>
            <a:ext cx="2945659" cy="495426"/>
          </a:xfrm>
          <a:prstGeom prst="rect">
            <a:avLst/>
          </a:prstGeom>
        </p:spPr>
        <p:txBody>
          <a:bodyPr vert="horz" lIns="95261" tIns="47631" rIns="95261" bIns="47631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5"/>
            <a:ext cx="2945659" cy="495426"/>
          </a:xfrm>
          <a:prstGeom prst="rect">
            <a:avLst/>
          </a:prstGeom>
        </p:spPr>
        <p:txBody>
          <a:bodyPr vert="horz" lIns="95261" tIns="47631" rIns="95261" bIns="47631" rtlCol="0" anchor="b"/>
          <a:lstStyle>
            <a:lvl1pPr algn="r">
              <a:defRPr sz="1200"/>
            </a:lvl1pPr>
          </a:lstStyle>
          <a:p>
            <a:fld id="{C8A32588-BCFF-B546-8177-95EEE6DA135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062816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sv-SE" dirty="0"/>
              <a:t>So </a:t>
            </a:r>
            <a:r>
              <a:rPr lang="sv-SE" dirty="0" err="1"/>
              <a:t>what</a:t>
            </a:r>
            <a:r>
              <a:rPr lang="sv-SE" dirty="0"/>
              <a:t> </a:t>
            </a:r>
            <a:r>
              <a:rPr lang="sv-SE" dirty="0" err="1"/>
              <a:t>are</a:t>
            </a:r>
            <a:r>
              <a:rPr lang="sv-SE" dirty="0"/>
              <a:t> </a:t>
            </a:r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doing</a:t>
            </a:r>
            <a:r>
              <a:rPr lang="sv-SE" dirty="0"/>
              <a:t> in Boden:</a:t>
            </a:r>
          </a:p>
          <a:p>
            <a:pPr lvl="0"/>
            <a:endParaRPr lang="sv-SE" dirty="0"/>
          </a:p>
          <a:p>
            <a:pPr lvl="0"/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are</a:t>
            </a:r>
            <a:r>
              <a:rPr lang="sv-SE" dirty="0"/>
              <a:t> </a:t>
            </a:r>
            <a:r>
              <a:rPr lang="sv-SE" dirty="0" err="1"/>
              <a:t>building</a:t>
            </a:r>
            <a:r>
              <a:rPr lang="sv-SE" dirty="0"/>
              <a:t> an </a:t>
            </a:r>
            <a:r>
              <a:rPr lang="sv-SE" dirty="0" err="1"/>
              <a:t>integrated</a:t>
            </a:r>
            <a:r>
              <a:rPr lang="sv-SE" dirty="0"/>
              <a:t> </a:t>
            </a:r>
            <a:r>
              <a:rPr lang="sv-SE" dirty="0" err="1"/>
              <a:t>steel</a:t>
            </a:r>
            <a:r>
              <a:rPr lang="sv-SE" dirty="0"/>
              <a:t> plant. And </a:t>
            </a:r>
            <a:r>
              <a:rPr lang="sv-SE" dirty="0" err="1"/>
              <a:t>we</a:t>
            </a:r>
            <a:r>
              <a:rPr lang="sv-SE" dirty="0"/>
              <a:t> </a:t>
            </a:r>
            <a:r>
              <a:rPr lang="sv-SE" dirty="0" err="1"/>
              <a:t>see</a:t>
            </a:r>
            <a:r>
              <a:rPr lang="sv-SE" dirty="0"/>
              <a:t> </a:t>
            </a:r>
            <a:r>
              <a:rPr lang="sv-SE" dirty="0" err="1"/>
              <a:t>this</a:t>
            </a:r>
            <a:r>
              <a:rPr lang="sv-SE" dirty="0"/>
              <a:t> plant as </a:t>
            </a:r>
            <a:r>
              <a:rPr lang="sv-SE" dirty="0" err="1"/>
              <a:t>essentially</a:t>
            </a:r>
            <a:r>
              <a:rPr lang="sv-SE" dirty="0"/>
              <a:t> </a:t>
            </a:r>
            <a:r>
              <a:rPr lang="sv-SE" dirty="0" err="1"/>
              <a:t>three</a:t>
            </a:r>
            <a:r>
              <a:rPr lang="sv-SE" dirty="0"/>
              <a:t> parts:</a:t>
            </a:r>
          </a:p>
          <a:p>
            <a:pPr lvl="0"/>
            <a:endParaRPr lang="sv-SE" dirty="0"/>
          </a:p>
          <a:p>
            <a:pPr marL="228600" lvl="0" indent="-228600">
              <a:buAutoNum type="arabicPeriod"/>
            </a:pPr>
            <a:r>
              <a:rPr lang="sv-SE" dirty="0"/>
              <a:t>The giga-</a:t>
            </a:r>
            <a:r>
              <a:rPr lang="sv-SE" dirty="0" err="1"/>
              <a:t>sclae</a:t>
            </a:r>
            <a:r>
              <a:rPr lang="sv-SE" dirty="0"/>
              <a:t> </a:t>
            </a:r>
            <a:r>
              <a:rPr lang="sv-SE" dirty="0" err="1"/>
              <a:t>electrolysis</a:t>
            </a:r>
            <a:r>
              <a:rPr lang="sv-SE" dirty="0"/>
              <a:t> plant</a:t>
            </a:r>
          </a:p>
          <a:p>
            <a:pPr marL="228600" lvl="0" indent="-228600">
              <a:buAutoNum type="arabicPeriod"/>
            </a:pPr>
            <a:r>
              <a:rPr lang="sv-SE" dirty="0"/>
              <a:t>The DRI </a:t>
            </a:r>
            <a:r>
              <a:rPr lang="sv-SE" dirty="0" err="1"/>
              <a:t>reactor</a:t>
            </a:r>
            <a:r>
              <a:rPr lang="sv-SE" dirty="0"/>
              <a:t> </a:t>
            </a:r>
          </a:p>
          <a:p>
            <a:pPr marL="228600" lvl="0" indent="-228600">
              <a:buAutoNum type="arabicPeriod"/>
            </a:pPr>
            <a:r>
              <a:rPr lang="sv-SE" dirty="0"/>
              <a:t>And the </a:t>
            </a:r>
            <a:r>
              <a:rPr lang="sv-SE" dirty="0" err="1"/>
              <a:t>downstream</a:t>
            </a:r>
            <a:r>
              <a:rPr lang="sv-SE" dirty="0"/>
              <a:t> </a:t>
            </a:r>
            <a:r>
              <a:rPr lang="sv-SE" dirty="0" err="1"/>
              <a:t>processs</a:t>
            </a:r>
            <a:r>
              <a:rPr lang="sv-SE" dirty="0"/>
              <a:t> </a:t>
            </a:r>
            <a:r>
              <a:rPr lang="sv-SE" dirty="0" err="1"/>
              <a:t>including</a:t>
            </a:r>
            <a:r>
              <a:rPr lang="sv-SE" dirty="0"/>
              <a:t> the hot </a:t>
            </a:r>
            <a:r>
              <a:rPr lang="sv-SE" dirty="0" err="1"/>
              <a:t>roling</a:t>
            </a:r>
            <a:r>
              <a:rPr lang="sv-SE" dirty="0"/>
              <a:t> </a:t>
            </a:r>
            <a:r>
              <a:rPr lang="sv-SE" dirty="0" err="1"/>
              <a:t>mill</a:t>
            </a:r>
            <a:r>
              <a:rPr lang="sv-SE" dirty="0"/>
              <a:t>, </a:t>
            </a:r>
            <a:r>
              <a:rPr lang="sv-SE" dirty="0" err="1"/>
              <a:t>donwstream</a:t>
            </a:r>
            <a:r>
              <a:rPr lang="sv-SE" dirty="0"/>
              <a:t>, and </a:t>
            </a:r>
            <a:r>
              <a:rPr lang="sv-SE" dirty="0" err="1"/>
              <a:t>finishing</a:t>
            </a:r>
            <a:endParaRPr lang="sv-SE" dirty="0"/>
          </a:p>
          <a:p>
            <a:pPr marL="228600" lvl="0" indent="-228600">
              <a:buAutoNum type="arabicPeriod"/>
            </a:pPr>
            <a:endParaRPr lang="sv-SE" dirty="0"/>
          </a:p>
          <a:p>
            <a:pPr marL="228600" lvl="0" indent="-228600">
              <a:buAutoNum type="arabicPeriod"/>
            </a:pP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8A32588-BCFF-B546-8177-95EEE6DA1353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301545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tags" Target="../tags/tag17.xml"/><Relationship Id="rId11" Type="http://schemas.openxmlformats.org/officeDocument/2006/relationships/image" Target="../media/image10.emf"/><Relationship Id="rId5" Type="http://schemas.openxmlformats.org/officeDocument/2006/relationships/tags" Target="../tags/tag16.xml"/><Relationship Id="rId10" Type="http://schemas.openxmlformats.org/officeDocument/2006/relationships/oleObject" Target="../embeddings/oleObject4.bin"/><Relationship Id="rId4" Type="http://schemas.openxmlformats.org/officeDocument/2006/relationships/tags" Target="../tags/tag15.xml"/><Relationship Id="rId9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19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4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5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5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5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24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5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5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5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1885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9">
    <p:bg>
      <p:bgPr>
        <a:blipFill dpi="0"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5311640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57DD505B-D4FC-8B46-A5A2-95AB140845E0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A44464-093E-9B41-9249-8AAB6929B0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7" y="1816100"/>
            <a:ext cx="10512425" cy="43815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9572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6502400" y="0"/>
            <a:ext cx="56896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301103-3200-FC41-BFEB-1AC1666546E1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5365750" cy="132556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39788" y="1816100"/>
            <a:ext cx="5364162" cy="43815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63EA64-BF79-AE48-8436-A01533041BA1}"/>
              </a:ext>
            </a:extLst>
          </p:cNvPr>
          <p:cNvSpPr/>
          <p:nvPr userDrawn="1"/>
        </p:nvSpPr>
        <p:spPr>
          <a:xfrm>
            <a:off x="6473046" y="552695"/>
            <a:ext cx="87056" cy="62523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41067" y="745067"/>
            <a:ext cx="4511145" cy="5452533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1" name="Graphic 35">
            <a:extLst>
              <a:ext uri="{FF2B5EF4-FFF2-40B4-BE49-F238E27FC236}">
                <a16:creationId xmlns:a16="http://schemas.microsoft.com/office/drawing/2014/main" id="{CE7B0AEF-E0F7-D642-B4D1-B9FEF44AD34D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2" name="Graphic 35">
              <a:extLst>
                <a:ext uri="{FF2B5EF4-FFF2-40B4-BE49-F238E27FC236}">
                  <a16:creationId xmlns:a16="http://schemas.microsoft.com/office/drawing/2014/main" id="{ABFA4A02-DC56-AA44-956D-14662CF5C0CF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F3A90B1-5A8E-0341-B849-86B9BC77A38B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C812CB27-D2A0-5345-832B-D52AF8255967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3D721597-AEF5-8149-B97A-8B2ADFBAC545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44097E8F-33E7-4848-BC0F-280D4A59B6B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2086F457-8263-E74B-A1D8-24D340186B3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DED9934A-CA52-7047-923C-68185AFFF2B1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0D0A4F92-8C24-D045-B8AC-64F66DF7EA2A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35513DBD-A20D-EF47-91DA-654BA66F5D0C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0EB2C3A9-93BB-AD41-8605-6470C10012EB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A8041C5-135F-504C-9D38-E736687E386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3" name="Graphic 35">
              <a:extLst>
                <a:ext uri="{FF2B5EF4-FFF2-40B4-BE49-F238E27FC236}">
                  <a16:creationId xmlns:a16="http://schemas.microsoft.com/office/drawing/2014/main" id="{CBCC38B1-C4C6-2D45-B011-524D2C70E614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E080DBBC-85D2-F848-A256-42AC34E727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4028C2B5-957D-CA4B-8DB9-24D58B8D8F8F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2488213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22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4939621" cy="132556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80313" y="344557"/>
            <a:ext cx="4871900" cy="585304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9" y="1828800"/>
            <a:ext cx="4938159" cy="43688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532283A-F886-5643-8120-687F88165D48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5256212" cy="0"/>
          </a:xfrm>
          <a:prstGeom prst="line">
            <a:avLst/>
          </a:prstGeom>
          <a:ln w="317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pPr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554981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3036D92-EDB4-F449-9A96-3C30DBDB7645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10010775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6D5DCFF-68AD-3642-A0E1-285DB65C8F47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5510194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7A01F2-73D9-1D47-94B4-44A5361911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27AD90-5BA6-DF46-A9CF-D0D4B10F5E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C581A82-E793-D447-B5B8-868C4EAC8719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9195311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2C53B-2B3C-E043-ACBF-96640AE2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E8CEC1-D10A-694D-9D61-1DD32159D9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741306-BA0F-9940-96CD-4F61E169D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AAB995-290C-914D-86F5-806E76AA3C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F082E9-B126-8943-A7B3-340093449F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030B19-D2CC-A140-AC74-E36052A72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0A4921-89AF-A24A-BDA7-EF753661FA59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22492DEC-543F-5E4E-A444-50DB57D8237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3156376-7B32-5347-820E-AC89B8DB3C48}" type="datetime1">
              <a:rPr lang="sv-SE" smtClean="0"/>
              <a:t>2021-08-17</a:t>
            </a:fld>
            <a:endParaRPr lang="sv-SE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AFC71E6-E949-354E-93F5-CC99FC90570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0264496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58502-9700-D542-821A-2083E362D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AEE99B-6E1A-E54F-8368-ACB0749BE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E6C0726-EF75-2142-899C-D269C9B2ECF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C8563F85-4E61-9C47-9038-91BBCE930C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D4E2F1E-E22B-C149-B84A-2264BD72A1F9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274DF96-EBB3-9E4A-895F-78CBD2DC73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7490233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F9CD62-ED6B-1545-8149-41636A6EA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AFA389D-24D0-4A45-9127-97FD3B1DF6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63C960E4-C2E9-3147-80DA-BF1E2FF3607C}" type="datetime1">
              <a:rPr lang="sv-SE" smtClean="0"/>
              <a:t>2021-08-17</a:t>
            </a:fld>
            <a:endParaRPr lang="sv-S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D8C2E84-C697-274F-B37A-A46FED941C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9370192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FD11E-E91F-5248-8705-F3DDE5014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B3E0D3-04E8-414C-8EA8-9C8FEF1112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342901"/>
            <a:ext cx="6172200" cy="5518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2752E2-C083-5048-9DE4-480DBE68CA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62F2C7-730C-5F40-8AC0-79ED6C64F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ECCAE9-2BB7-C049-A656-E3494F93386A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8587FA4-3226-374C-B6B6-C354E3A9C29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7F17FDD-2E84-EE4D-B2C6-E00BF4CF7953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26E50A8-421A-6041-8149-899D70BF55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5624444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1FA8BC-B6A3-614E-BE21-D590723D879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1"/>
            <a:ext cx="6096000" cy="6210300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3249B3-7FB2-0B4C-86CB-EEE079F96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32A79E-FCBE-F049-BE40-FEFDB5715F51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7D49BC98-9CCA-E84B-89C3-BCB83CF44D5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737AA5B-35A5-6C45-B138-84D01A6D8764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BCB4A82-3A95-D645-935D-8A677D461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2116BF-D726-9847-B983-EA4ED2F1C7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E6532F5-EC62-214D-B274-DD8EB23F8D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5036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0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7790658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2DF4C3-8A7B-DF45-9A62-C0CB239BB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5F4CF5C-6573-4749-9A20-9EFA7A990A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6AEB38-D082-C045-BA0D-EC7F790D2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F76CD50-D4B0-B041-91AB-79EB6B13E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13F8E547-F6BB-C949-9E38-DB9C4F9A07C7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E49E7A-64C9-E04F-A352-6A80C3FD6B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6279543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58C16D-664F-FC45-A64F-6B56B78A19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CF9181-DD69-424F-B6CA-9285932384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5328B8-1FB4-CD49-9F22-D4F7A8200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CB64CE7B-20EC-BB43-AA79-1DB9A13609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D69886C4-47C7-3F4A-AABA-D750C1E0359A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26B77F-8D75-2C4B-BCE1-024C2A3C18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636716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1549433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2648587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2783840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rgbClr val="222E3A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rgbClr val="222E3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rgbClr val="222E3A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rgbClr val="222E3A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aphic 35">
            <a:extLst>
              <a:ext uri="{FF2B5EF4-FFF2-40B4-BE49-F238E27FC236}">
                <a16:creationId xmlns:a16="http://schemas.microsoft.com/office/drawing/2014/main" id="{4685A7FB-3D40-5342-930A-365BCCD33BE7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9" name="Graphic 35">
              <a:extLst>
                <a:ext uri="{FF2B5EF4-FFF2-40B4-BE49-F238E27FC236}">
                  <a16:creationId xmlns:a16="http://schemas.microsoft.com/office/drawing/2014/main" id="{EB7BC60E-27AF-A049-BD23-4F8C2EB5574E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1316DD5A-1BBA-6447-ABFC-7F66E6EA9CF5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6CCA888-896A-CD4C-998B-1EB940503430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214BA5C-CA1C-E54E-AE9C-9A7D22E1A2E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877A47AC-D1EB-DA44-A340-16291AD35BAF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3C2BE7D-B433-A547-B8B2-A98959CF58D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51160C-66C3-474D-8459-1FC11E42319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6649A6AA-29FE-454E-ACF9-A808923CFCE4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2327E638-E976-F944-8A67-2307AA45121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45F678DA-3B80-B34F-8A6D-DC2998CDA934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D0C78F57-9BBE-A843-A3CC-286A763BD83E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FD0C1F64-6CF5-624A-B7E6-1B774EC82E1B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F4DC62E5-87F5-294C-B9E4-C98160B6C76F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188DD3F5-8EBC-664A-82C5-CBEA36321CD8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1745135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DAF3B6-C613-3F47-A52D-28125B15C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3B4B79B-D8CB-E54D-BF14-50221E075E0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5236425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57DD505B-D4FC-8B46-A5A2-95AB140845E0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A44464-093E-9B41-9249-8AAB6929B0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7" y="1816100"/>
            <a:ext cx="10512425" cy="43815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56350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6502400" y="0"/>
            <a:ext cx="56896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301103-3200-FC41-BFEB-1AC1666546E1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5365750" cy="132556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39788" y="1816100"/>
            <a:ext cx="5364162" cy="43815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63EA64-BF79-AE48-8436-A01533041BA1}"/>
              </a:ext>
            </a:extLst>
          </p:cNvPr>
          <p:cNvSpPr/>
          <p:nvPr userDrawn="1"/>
        </p:nvSpPr>
        <p:spPr>
          <a:xfrm>
            <a:off x="6473046" y="552695"/>
            <a:ext cx="87056" cy="62523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41067" y="745067"/>
            <a:ext cx="4511145" cy="5452533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1" name="Graphic 35">
            <a:extLst>
              <a:ext uri="{FF2B5EF4-FFF2-40B4-BE49-F238E27FC236}">
                <a16:creationId xmlns:a16="http://schemas.microsoft.com/office/drawing/2014/main" id="{CE7B0AEF-E0F7-D642-B4D1-B9FEF44AD34D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2" name="Graphic 35">
              <a:extLst>
                <a:ext uri="{FF2B5EF4-FFF2-40B4-BE49-F238E27FC236}">
                  <a16:creationId xmlns:a16="http://schemas.microsoft.com/office/drawing/2014/main" id="{ABFA4A02-DC56-AA44-956D-14662CF5C0CF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F3A90B1-5A8E-0341-B849-86B9BC77A38B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C812CB27-D2A0-5345-832B-D52AF8255967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3D721597-AEF5-8149-B97A-8B2ADFBAC545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44097E8F-33E7-4848-BC0F-280D4A59B6B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2086F457-8263-E74B-A1D8-24D340186B3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DED9934A-CA52-7047-923C-68185AFFF2B1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0D0A4F92-8C24-D045-B8AC-64F66DF7EA2A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35513DBD-A20D-EF47-91DA-654BA66F5D0C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0EB2C3A9-93BB-AD41-8605-6470C10012EB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A8041C5-135F-504C-9D38-E736687E386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3" name="Graphic 35">
              <a:extLst>
                <a:ext uri="{FF2B5EF4-FFF2-40B4-BE49-F238E27FC236}">
                  <a16:creationId xmlns:a16="http://schemas.microsoft.com/office/drawing/2014/main" id="{CBCC38B1-C4C6-2D45-B011-524D2C70E614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E080DBBC-85D2-F848-A256-42AC34E727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4028C2B5-957D-CA4B-8DB9-24D58B8D8F8F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241763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22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4939621" cy="132556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80313" y="344557"/>
            <a:ext cx="4871900" cy="585304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9" y="1828800"/>
            <a:ext cx="4938159" cy="43688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532283A-F886-5643-8120-687F88165D48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5256212" cy="0"/>
          </a:xfrm>
          <a:prstGeom prst="line">
            <a:avLst/>
          </a:prstGeom>
          <a:ln w="317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pPr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770429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3036D92-EDB4-F449-9A96-3C30DBDB7645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10010775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6D5DCFF-68AD-3642-A0E1-285DB65C8F47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623431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351163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7A01F2-73D9-1D47-94B4-44A5361911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27AD90-5BA6-DF46-A9CF-D0D4B10F5E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C581A82-E793-D447-B5B8-868C4EAC8719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80455294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2C53B-2B3C-E043-ACBF-96640AE2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E8CEC1-D10A-694D-9D61-1DD32159D9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741306-BA0F-9940-96CD-4F61E169D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AAB995-290C-914D-86F5-806E76AA3C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F082E9-B126-8943-A7B3-340093449F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030B19-D2CC-A140-AC74-E36052A72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0A4921-89AF-A24A-BDA7-EF753661FA59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22492DEC-543F-5E4E-A444-50DB57D8237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3156376-7B32-5347-820E-AC89B8DB3C48}" type="datetime1">
              <a:rPr lang="sv-SE" smtClean="0"/>
              <a:t>2021-08-17</a:t>
            </a:fld>
            <a:endParaRPr lang="sv-SE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AFC71E6-E949-354E-93F5-CC99FC90570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3816674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58502-9700-D542-821A-2083E362D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AEE99B-6E1A-E54F-8368-ACB0749BE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E6C0726-EF75-2142-899C-D269C9B2ECF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C8563F85-4E61-9C47-9038-91BBCE930C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D4E2F1E-E22B-C149-B84A-2264BD72A1F9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274DF96-EBB3-9E4A-895F-78CBD2DC73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50202234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F9CD62-ED6B-1545-8149-41636A6EA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AFA389D-24D0-4A45-9127-97FD3B1DF6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63C960E4-C2E9-3147-80DA-BF1E2FF3607C}" type="datetime1">
              <a:rPr lang="sv-SE" smtClean="0"/>
              <a:t>2021-08-17</a:t>
            </a:fld>
            <a:endParaRPr lang="sv-S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D8C2E84-C697-274F-B37A-A46FED941C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66505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FD11E-E91F-5248-8705-F3DDE5014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B3E0D3-04E8-414C-8EA8-9C8FEF1112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342901"/>
            <a:ext cx="6172200" cy="5518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2752E2-C083-5048-9DE4-480DBE68CA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62F2C7-730C-5F40-8AC0-79ED6C64F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ECCAE9-2BB7-C049-A656-E3494F93386A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8587FA4-3226-374C-B6B6-C354E3A9C29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7F17FDD-2E84-EE4D-B2C6-E00BF4CF7953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26E50A8-421A-6041-8149-899D70BF55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3204212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1FA8BC-B6A3-614E-BE21-D590723D879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1"/>
            <a:ext cx="6096000" cy="6210300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3249B3-7FB2-0B4C-86CB-EEE079F96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32A79E-FCBE-F049-BE40-FEFDB5715F51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7D49BC98-9CCA-E84B-89C3-BCB83CF44D5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737AA5B-35A5-6C45-B138-84D01A6D8764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BCB4A82-3A95-D645-935D-8A677D461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2116BF-D726-9847-B983-EA4ED2F1C7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E6532F5-EC62-214D-B274-DD8EB23F8D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921747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2DF4C3-8A7B-DF45-9A62-C0CB239BB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5F4CF5C-6573-4749-9A20-9EFA7A990A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6AEB38-D082-C045-BA0D-EC7F790D2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F76CD50-D4B0-B041-91AB-79EB6B13E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13F8E547-F6BB-C949-9E38-DB9C4F9A07C7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E49E7A-64C9-E04F-A352-6A80C3FD6B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0671749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58C16D-664F-FC45-A64F-6B56B78A19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CF9181-DD69-424F-B6CA-9285932384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5328B8-1FB4-CD49-9F22-D4F7A8200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CB64CE7B-20EC-BB43-AA79-1DB9A13609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D69886C4-47C7-3F4A-AABA-D750C1E0359A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26B77F-8D75-2C4B-BCE1-024C2A3C18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3791867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4367453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083142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8927887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6731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8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554736" y="647030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l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840551" y="657944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385873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23689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aphic 35">
            <a:extLst>
              <a:ext uri="{FF2B5EF4-FFF2-40B4-BE49-F238E27FC236}">
                <a16:creationId xmlns:a16="http://schemas.microsoft.com/office/drawing/2014/main" id="{E5B29532-0639-E04B-89F2-B544D5B8CB58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69" name="Graphic 35">
              <a:extLst>
                <a:ext uri="{FF2B5EF4-FFF2-40B4-BE49-F238E27FC236}">
                  <a16:creationId xmlns:a16="http://schemas.microsoft.com/office/drawing/2014/main" id="{B66167E8-A8E7-514F-8F19-753F9919EA07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73" name="Freeform 72">
                <a:extLst>
                  <a:ext uri="{FF2B5EF4-FFF2-40B4-BE49-F238E27FC236}">
                    <a16:creationId xmlns:a16="http://schemas.microsoft.com/office/drawing/2014/main" id="{94F5019A-C619-AF49-919A-3F1A32628F25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3F5D8652-F1AD-6149-A138-208991E161A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8E9DC377-DD62-5B4C-8F1C-D32B102D3B9F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6" name="Freeform 75">
                <a:extLst>
                  <a:ext uri="{FF2B5EF4-FFF2-40B4-BE49-F238E27FC236}">
                    <a16:creationId xmlns:a16="http://schemas.microsoft.com/office/drawing/2014/main" id="{E6F4F513-9088-0247-B001-C471835E0F38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7" name="Freeform 76">
                <a:extLst>
                  <a:ext uri="{FF2B5EF4-FFF2-40B4-BE49-F238E27FC236}">
                    <a16:creationId xmlns:a16="http://schemas.microsoft.com/office/drawing/2014/main" id="{7B586C99-DC05-9C47-8865-B8449F1EFE52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8" name="Freeform 77">
                <a:extLst>
                  <a:ext uri="{FF2B5EF4-FFF2-40B4-BE49-F238E27FC236}">
                    <a16:creationId xmlns:a16="http://schemas.microsoft.com/office/drawing/2014/main" id="{6620DB92-99A9-4F4A-8D27-3AA265B42F63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9" name="Freeform 78">
                <a:extLst>
                  <a:ext uri="{FF2B5EF4-FFF2-40B4-BE49-F238E27FC236}">
                    <a16:creationId xmlns:a16="http://schemas.microsoft.com/office/drawing/2014/main" id="{BF169676-A83A-2147-8986-348DD9B683BD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0" name="Freeform 79">
                <a:extLst>
                  <a:ext uri="{FF2B5EF4-FFF2-40B4-BE49-F238E27FC236}">
                    <a16:creationId xmlns:a16="http://schemas.microsoft.com/office/drawing/2014/main" id="{C8B5D701-7972-3940-B1D5-6F6F36D47994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5B6E952F-C48C-0244-936C-AC5ADC37E219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2682892A-BFD4-6A4D-9876-B44656B49F5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70" name="Graphic 35">
              <a:extLst>
                <a:ext uri="{FF2B5EF4-FFF2-40B4-BE49-F238E27FC236}">
                  <a16:creationId xmlns:a16="http://schemas.microsoft.com/office/drawing/2014/main" id="{F2813A03-CDAE-FF44-9509-3A98D5854D64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71" name="Freeform 70">
                <a:extLst>
                  <a:ext uri="{FF2B5EF4-FFF2-40B4-BE49-F238E27FC236}">
                    <a16:creationId xmlns:a16="http://schemas.microsoft.com/office/drawing/2014/main" id="{68D4DBEE-EDBE-0746-B871-CB31F9D8F599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2" name="Freeform 71">
                <a:extLst>
                  <a:ext uri="{FF2B5EF4-FFF2-40B4-BE49-F238E27FC236}">
                    <a16:creationId xmlns:a16="http://schemas.microsoft.com/office/drawing/2014/main" id="{587BAFC3-BFF6-FC41-AEAD-9E21531A0461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3849022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7360969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9793943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4369639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0352906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6563172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767814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8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891723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02305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9">
    <p:bg>
      <p:bgPr>
        <a:blipFill dpi="0"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5709127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0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6927523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3189274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762265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9626541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3036D92-EDB4-F449-9A96-3C30DBDB76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5148263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noFill/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BEE517F5-6182-C74C-8455-9B52A1C544E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E6A9A1-C6C1-5143-8DD5-B994A995B009}"/>
              </a:ext>
            </a:extLst>
          </p:cNvPr>
          <p:cNvCxnSpPr>
            <a:cxnSpLocks/>
            <a:stCxn id="8" idx="3"/>
          </p:cNvCxnSpPr>
          <p:nvPr userDrawn="1"/>
        </p:nvCxnSpPr>
        <p:spPr>
          <a:xfrm>
            <a:off x="3314700" y="6539949"/>
            <a:ext cx="6954715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0071186A-5FF0-A94E-9F89-BFBA43C89A9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716E6067-465F-6747-8484-394781D4F04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67065E1D-639E-1F43-9ECB-F2D10F0177A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AAE25362-6A89-3642-8925-26012FCD4C02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326208A4-87CD-DC44-9284-C29AFAEA9B0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D65B1FCD-BC70-FD46-85F8-F19728A90A1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532B2370-8F37-A746-88C8-471D6FC93113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62944B23-DE6A-484F-A54A-8A0D1BF76A9F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BA919DC1-8419-3B4F-B66F-F857BE329D6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EA6B1726-C399-524A-934A-8B9F8273BF1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C8AC062-CB26-3C4B-BF5C-71316381CB5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CD3DAC72-BC01-CB4A-AE23-CB5569E9475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FA4527FB-9018-4147-BF44-1B59C6B1E36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B6526FFB-F46B-1B4C-94A0-CB54397F00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D253CFE6-0BF6-8446-AE20-0B9AAB8A803A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938170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5148263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noFill/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BEE517F5-6182-C74C-8455-9B52A1C544E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E6A9A1-C6C1-5143-8DD5-B994A995B009}"/>
              </a:ext>
            </a:extLst>
          </p:cNvPr>
          <p:cNvCxnSpPr>
            <a:cxnSpLocks/>
            <a:stCxn id="8" idx="3"/>
          </p:cNvCxnSpPr>
          <p:nvPr userDrawn="1"/>
        </p:nvCxnSpPr>
        <p:spPr>
          <a:xfrm>
            <a:off x="3314700" y="6539949"/>
            <a:ext cx="6954715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0071186A-5FF0-A94E-9F89-BFBA43C89A9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716E6067-465F-6747-8484-394781D4F04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67065E1D-639E-1F43-9ECB-F2D10F0177A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AAE25362-6A89-3642-8925-26012FCD4C02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326208A4-87CD-DC44-9284-C29AFAEA9B0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D65B1FCD-BC70-FD46-85F8-F19728A90A1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532B2370-8F37-A746-88C8-471D6FC93113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62944B23-DE6A-484F-A54A-8A0D1BF76A9F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BA919DC1-8419-3B4F-B66F-F857BE329D6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EA6B1726-C399-524A-934A-8B9F8273BF1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C8AC062-CB26-3C4B-BF5C-71316381CB5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CD3DAC72-BC01-CB4A-AE23-CB5569E9475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FA4527FB-9018-4147-BF44-1B59C6B1E36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B6526FFB-F46B-1B4C-94A0-CB54397F00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D253CFE6-0BF6-8446-AE20-0B9AAB8A803A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1368217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aphic 35">
            <a:extLst>
              <a:ext uri="{FF2B5EF4-FFF2-40B4-BE49-F238E27FC236}">
                <a16:creationId xmlns:a16="http://schemas.microsoft.com/office/drawing/2014/main" id="{A0C8303F-754F-F64F-A95E-F28A8ACD25F3}"/>
              </a:ext>
            </a:extLst>
          </p:cNvPr>
          <p:cNvGrpSpPr/>
          <p:nvPr/>
        </p:nvGrpSpPr>
        <p:grpSpPr>
          <a:xfrm>
            <a:off x="3066288" y="2960996"/>
            <a:ext cx="6066790" cy="936008"/>
            <a:chOff x="3066288" y="2960996"/>
            <a:chExt cx="6066790" cy="936008"/>
          </a:xfrm>
          <a:solidFill>
            <a:srgbClr val="FFFFFF"/>
          </a:solidFill>
        </p:grpSpPr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0C8303F-754F-F64F-A95E-F28A8ACD25F3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solidFill>
              <a:srgbClr val="FFFFFF"/>
            </a:solidFill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132C44F6-39BD-774A-863E-00A8FA057A8C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F118E90F-65A2-6C48-905B-48969DFE4950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4A794B11-9285-EE43-9DD9-00AB27DADFA7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64C16D40-313D-584F-B15B-26FDC903C92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7307374A-663F-6645-8A9E-07B38E91575D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7860892C-29F9-6B4E-AEF6-2BF2D0C06ABE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87B41319-4978-734A-8043-C5824F0E435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8C350C9E-957C-C640-AE32-83CF4C7B5823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A0A8A9B5-CDE0-3849-9065-9BA25051C7B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73AF24B7-08DA-E043-A376-952B1E9957E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9" name="Graphic 35">
              <a:extLst>
                <a:ext uri="{FF2B5EF4-FFF2-40B4-BE49-F238E27FC236}">
                  <a16:creationId xmlns:a16="http://schemas.microsoft.com/office/drawing/2014/main" id="{A0C8303F-754F-F64F-A95E-F28A8ACD25F3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solidFill>
              <a:srgbClr val="FFFFFF"/>
            </a:solidFill>
          </p:grpSpPr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66B15798-25D9-9C4A-AE8B-9F0398977E5E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73134AB2-94FB-9D43-A787-E9779BDA77C6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116952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F9CD62-ED6B-1545-8149-41636A6EA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AFA389D-24D0-4A45-9127-97FD3B1DF6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63C960E4-C2E9-3147-80DA-BF1E2FF3607C}" type="datetime1">
              <a:rPr lang="sv-SE" smtClean="0"/>
              <a:t>2021-08-17</a:t>
            </a:fld>
            <a:endParaRPr lang="sv-S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D8C2E84-C697-274F-B37A-A46FED941C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0303772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949369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3036D92-EDB4-F449-9A96-3C30DBDB76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5148263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noFill/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BEE517F5-6182-C74C-8455-9B52A1C544E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E6A9A1-C6C1-5143-8DD5-B994A995B009}"/>
              </a:ext>
            </a:extLst>
          </p:cNvPr>
          <p:cNvCxnSpPr>
            <a:cxnSpLocks/>
            <a:stCxn id="8" idx="3"/>
          </p:cNvCxnSpPr>
          <p:nvPr userDrawn="1"/>
        </p:nvCxnSpPr>
        <p:spPr>
          <a:xfrm>
            <a:off x="3314700" y="6539949"/>
            <a:ext cx="6954715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0071186A-5FF0-A94E-9F89-BFBA43C89A9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716E6067-465F-6747-8484-394781D4F04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67065E1D-639E-1F43-9ECB-F2D10F0177A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AAE25362-6A89-3642-8925-26012FCD4C02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326208A4-87CD-DC44-9284-C29AFAEA9B0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D65B1FCD-BC70-FD46-85F8-F19728A90A1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532B2370-8F37-A746-88C8-471D6FC93113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62944B23-DE6A-484F-A54A-8A0D1BF76A9F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BA919DC1-8419-3B4F-B66F-F857BE329D6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EA6B1726-C399-524A-934A-8B9F8273BF1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C8AC062-CB26-3C4B-BF5C-71316381CB5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CD3DAC72-BC01-CB4A-AE23-CB5569E9475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FA4527FB-9018-4147-BF44-1B59C6B1E36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B6526FFB-F46B-1B4C-94A0-CB54397F00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D253CFE6-0BF6-8446-AE20-0B9AAB8A803A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3520883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aphic 35">
            <a:extLst>
              <a:ext uri="{FF2B5EF4-FFF2-40B4-BE49-F238E27FC236}">
                <a16:creationId xmlns:a16="http://schemas.microsoft.com/office/drawing/2014/main" id="{E5B29532-0639-E04B-89F2-B544D5B8CB58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69" name="Graphic 35">
              <a:extLst>
                <a:ext uri="{FF2B5EF4-FFF2-40B4-BE49-F238E27FC236}">
                  <a16:creationId xmlns:a16="http://schemas.microsoft.com/office/drawing/2014/main" id="{B66167E8-A8E7-514F-8F19-753F9919EA07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73" name="Freeform 72">
                <a:extLst>
                  <a:ext uri="{FF2B5EF4-FFF2-40B4-BE49-F238E27FC236}">
                    <a16:creationId xmlns:a16="http://schemas.microsoft.com/office/drawing/2014/main" id="{94F5019A-C619-AF49-919A-3F1A32628F25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3F5D8652-F1AD-6149-A138-208991E161A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8E9DC377-DD62-5B4C-8F1C-D32B102D3B9F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6" name="Freeform 75">
                <a:extLst>
                  <a:ext uri="{FF2B5EF4-FFF2-40B4-BE49-F238E27FC236}">
                    <a16:creationId xmlns:a16="http://schemas.microsoft.com/office/drawing/2014/main" id="{E6F4F513-9088-0247-B001-C471835E0F38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7" name="Freeform 76">
                <a:extLst>
                  <a:ext uri="{FF2B5EF4-FFF2-40B4-BE49-F238E27FC236}">
                    <a16:creationId xmlns:a16="http://schemas.microsoft.com/office/drawing/2014/main" id="{7B586C99-DC05-9C47-8865-B8449F1EFE52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8" name="Freeform 77">
                <a:extLst>
                  <a:ext uri="{FF2B5EF4-FFF2-40B4-BE49-F238E27FC236}">
                    <a16:creationId xmlns:a16="http://schemas.microsoft.com/office/drawing/2014/main" id="{6620DB92-99A9-4F4A-8D27-3AA265B42F63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9" name="Freeform 78">
                <a:extLst>
                  <a:ext uri="{FF2B5EF4-FFF2-40B4-BE49-F238E27FC236}">
                    <a16:creationId xmlns:a16="http://schemas.microsoft.com/office/drawing/2014/main" id="{BF169676-A83A-2147-8986-348DD9B683BD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0" name="Freeform 79">
                <a:extLst>
                  <a:ext uri="{FF2B5EF4-FFF2-40B4-BE49-F238E27FC236}">
                    <a16:creationId xmlns:a16="http://schemas.microsoft.com/office/drawing/2014/main" id="{C8B5D701-7972-3940-B1D5-6F6F36D47994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5B6E952F-C48C-0244-936C-AC5ADC37E219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2682892A-BFD4-6A4D-9876-B44656B49F5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70" name="Graphic 35">
              <a:extLst>
                <a:ext uri="{FF2B5EF4-FFF2-40B4-BE49-F238E27FC236}">
                  <a16:creationId xmlns:a16="http://schemas.microsoft.com/office/drawing/2014/main" id="{F2813A03-CDAE-FF44-9509-3A98D5854D64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71" name="Freeform 70">
                <a:extLst>
                  <a:ext uri="{FF2B5EF4-FFF2-40B4-BE49-F238E27FC236}">
                    <a16:creationId xmlns:a16="http://schemas.microsoft.com/office/drawing/2014/main" id="{68D4DBEE-EDBE-0746-B871-CB31F9D8F599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2" name="Freeform 71">
                <a:extLst>
                  <a:ext uri="{FF2B5EF4-FFF2-40B4-BE49-F238E27FC236}">
                    <a16:creationId xmlns:a16="http://schemas.microsoft.com/office/drawing/2014/main" id="{587BAFC3-BFF6-FC41-AEAD-9E21531A0461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3667260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8335529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435684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6980676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6308703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1043836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9841637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8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0542637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9">
    <p:bg>
      <p:bgPr>
        <a:blipFill dpi="0"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4747623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0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674902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5148263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noFill/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BEE517F5-6182-C74C-8455-9B52A1C544E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E6A9A1-C6C1-5143-8DD5-B994A995B009}"/>
              </a:ext>
            </a:extLst>
          </p:cNvPr>
          <p:cNvCxnSpPr>
            <a:cxnSpLocks/>
            <a:stCxn id="8" idx="3"/>
          </p:cNvCxnSpPr>
          <p:nvPr userDrawn="1"/>
        </p:nvCxnSpPr>
        <p:spPr>
          <a:xfrm>
            <a:off x="3314700" y="6539949"/>
            <a:ext cx="6954715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0071186A-5FF0-A94E-9F89-BFBA43C89A9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716E6067-465F-6747-8484-394781D4F04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67065E1D-639E-1F43-9ECB-F2D10F0177A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AAE25362-6A89-3642-8925-26012FCD4C02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326208A4-87CD-DC44-9284-C29AFAEA9B0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D65B1FCD-BC70-FD46-85F8-F19728A90A1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532B2370-8F37-A746-88C8-471D6FC93113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62944B23-DE6A-484F-A54A-8A0D1BF76A9F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BA919DC1-8419-3B4F-B66F-F857BE329D6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EA6B1726-C399-524A-934A-8B9F8273BF1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C8AC062-CB26-3C4B-BF5C-71316381CB5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CD3DAC72-BC01-CB4A-AE23-CB5569E9475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FA4527FB-9018-4147-BF44-1B59C6B1E36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B6526FFB-F46B-1B4C-94A0-CB54397F00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D253CFE6-0BF6-8446-AE20-0B9AAB8A803A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3529485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923356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6407094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7778014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3036D92-EDB4-F449-9A96-3C30DBDB76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5148263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noFill/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BEE517F5-6182-C74C-8455-9B52A1C544E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E6A9A1-C6C1-5143-8DD5-B994A995B009}"/>
              </a:ext>
            </a:extLst>
          </p:cNvPr>
          <p:cNvCxnSpPr>
            <a:cxnSpLocks/>
            <a:stCxn id="8" idx="3"/>
          </p:cNvCxnSpPr>
          <p:nvPr userDrawn="1"/>
        </p:nvCxnSpPr>
        <p:spPr>
          <a:xfrm>
            <a:off x="3314700" y="6539949"/>
            <a:ext cx="6954715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0071186A-5FF0-A94E-9F89-BFBA43C89A9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716E6067-465F-6747-8484-394781D4F04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67065E1D-639E-1F43-9ECB-F2D10F0177A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AAE25362-6A89-3642-8925-26012FCD4C02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326208A4-87CD-DC44-9284-C29AFAEA9B0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D65B1FCD-BC70-FD46-85F8-F19728A90A1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532B2370-8F37-A746-88C8-471D6FC93113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62944B23-DE6A-484F-A54A-8A0D1BF76A9F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BA919DC1-8419-3B4F-B66F-F857BE329D6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EA6B1726-C399-524A-934A-8B9F8273BF1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C8AC062-CB26-3C4B-BF5C-71316381CB5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CD3DAC72-BC01-CB4A-AE23-CB5569E9475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FA4527FB-9018-4147-BF44-1B59C6B1E36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B6526FFB-F46B-1B4C-94A0-CB54397F00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D253CFE6-0BF6-8446-AE20-0B9AAB8A803A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5919330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5148263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noFill/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BEE517F5-6182-C74C-8455-9B52A1C544E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E6A9A1-C6C1-5143-8DD5-B994A995B009}"/>
              </a:ext>
            </a:extLst>
          </p:cNvPr>
          <p:cNvCxnSpPr>
            <a:cxnSpLocks/>
            <a:stCxn id="8" idx="3"/>
          </p:cNvCxnSpPr>
          <p:nvPr userDrawn="1"/>
        </p:nvCxnSpPr>
        <p:spPr>
          <a:xfrm>
            <a:off x="3314700" y="6539949"/>
            <a:ext cx="6954715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0071186A-5FF0-A94E-9F89-BFBA43C89A9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716E6067-465F-6747-8484-394781D4F04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67065E1D-639E-1F43-9ECB-F2D10F0177A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AAE25362-6A89-3642-8925-26012FCD4C02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326208A4-87CD-DC44-9284-C29AFAEA9B0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D65B1FCD-BC70-FD46-85F8-F19728A90A1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532B2370-8F37-A746-88C8-471D6FC93113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62944B23-DE6A-484F-A54A-8A0D1BF76A9F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BA919DC1-8419-3B4F-B66F-F857BE329D6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EA6B1726-C399-524A-934A-8B9F8273BF1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C8AC062-CB26-3C4B-BF5C-71316381CB5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CD3DAC72-BC01-CB4A-AE23-CB5569E9475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FA4527FB-9018-4147-BF44-1B59C6B1E36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B6526FFB-F46B-1B4C-94A0-CB54397F00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D253CFE6-0BF6-8446-AE20-0B9AAB8A803A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5331735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aphic 35">
            <a:extLst>
              <a:ext uri="{FF2B5EF4-FFF2-40B4-BE49-F238E27FC236}">
                <a16:creationId xmlns:a16="http://schemas.microsoft.com/office/drawing/2014/main" id="{A0C8303F-754F-F64F-A95E-F28A8ACD25F3}"/>
              </a:ext>
            </a:extLst>
          </p:cNvPr>
          <p:cNvGrpSpPr/>
          <p:nvPr/>
        </p:nvGrpSpPr>
        <p:grpSpPr>
          <a:xfrm>
            <a:off x="3066288" y="2960996"/>
            <a:ext cx="6066790" cy="936008"/>
            <a:chOff x="3066288" y="2960996"/>
            <a:chExt cx="6066790" cy="936008"/>
          </a:xfrm>
          <a:solidFill>
            <a:srgbClr val="FFFFFF"/>
          </a:solidFill>
        </p:grpSpPr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0C8303F-754F-F64F-A95E-F28A8ACD25F3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solidFill>
              <a:srgbClr val="FFFFFF"/>
            </a:solidFill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132C44F6-39BD-774A-863E-00A8FA057A8C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F118E90F-65A2-6C48-905B-48969DFE4950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4A794B11-9285-EE43-9DD9-00AB27DADFA7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64C16D40-313D-584F-B15B-26FDC903C92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7307374A-663F-6645-8A9E-07B38E91575D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7860892C-29F9-6B4E-AEF6-2BF2D0C06ABE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87B41319-4978-734A-8043-C5824F0E435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8C350C9E-957C-C640-AE32-83CF4C7B5823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A0A8A9B5-CDE0-3849-9065-9BA25051C7B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73AF24B7-08DA-E043-A376-952B1E9957E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9" name="Graphic 35">
              <a:extLst>
                <a:ext uri="{FF2B5EF4-FFF2-40B4-BE49-F238E27FC236}">
                  <a16:creationId xmlns:a16="http://schemas.microsoft.com/office/drawing/2014/main" id="{A0C8303F-754F-F64F-A95E-F28A8ACD25F3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solidFill>
              <a:srgbClr val="FFFFFF"/>
            </a:solidFill>
          </p:grpSpPr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66B15798-25D9-9C4A-AE8B-9F0398977E5E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73134AB2-94FB-9D43-A787-E9779BDA77C6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68091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22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4939621" cy="132556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2034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80313" y="344557"/>
            <a:ext cx="4871900" cy="585304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9" y="1828800"/>
            <a:ext cx="4938159" cy="43688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532283A-F886-5643-8120-687F88165D48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5256212" cy="0"/>
          </a:xfrm>
          <a:prstGeom prst="line">
            <a:avLst/>
          </a:prstGeom>
          <a:ln w="317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en-US"/>
              <a:t>December 2020</a:t>
            </a:r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3742001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2783840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rgbClr val="222E3A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rgbClr val="222E3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rgbClr val="222E3A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rgbClr val="222E3A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aphic 35">
            <a:extLst>
              <a:ext uri="{FF2B5EF4-FFF2-40B4-BE49-F238E27FC236}">
                <a16:creationId xmlns:a16="http://schemas.microsoft.com/office/drawing/2014/main" id="{4685A7FB-3D40-5342-930A-365BCCD33BE7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9" name="Graphic 35">
              <a:extLst>
                <a:ext uri="{FF2B5EF4-FFF2-40B4-BE49-F238E27FC236}">
                  <a16:creationId xmlns:a16="http://schemas.microsoft.com/office/drawing/2014/main" id="{EB7BC60E-27AF-A049-BD23-4F8C2EB5574E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1316DD5A-1BBA-6447-ABFC-7F66E6EA9CF5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6CCA888-896A-CD4C-998B-1EB940503430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214BA5C-CA1C-E54E-AE9C-9A7D22E1A2E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877A47AC-D1EB-DA44-A340-16291AD35BAF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3C2BE7D-B433-A547-B8B2-A98959CF58D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51160C-66C3-474D-8459-1FC11E42319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6649A6AA-29FE-454E-ACF9-A808923CFCE4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2327E638-E976-F944-8A67-2307AA45121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45F678DA-3B80-B34F-8A6D-DC2998CDA934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D0C78F57-9BBE-A843-A3CC-286A763BD83E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FD0C1F64-6CF5-624A-B7E6-1B774EC82E1B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F4DC62E5-87F5-294C-B9E4-C98160B6C76F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188DD3F5-8EBC-664A-82C5-CBEA36321CD8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0207600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DAF3B6-C613-3F47-A52D-28125B15C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3B4B79B-D8CB-E54D-BF14-50221E075E0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659943315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57DD505B-D4FC-8B46-A5A2-95AB140845E0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A44464-093E-9B41-9249-8AAB6929B0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7" y="1816100"/>
            <a:ext cx="10512425" cy="43815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0016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aphic 35">
            <a:extLst>
              <a:ext uri="{FF2B5EF4-FFF2-40B4-BE49-F238E27FC236}">
                <a16:creationId xmlns:a16="http://schemas.microsoft.com/office/drawing/2014/main" id="{A0C8303F-754F-F64F-A95E-F28A8ACD25F3}"/>
              </a:ext>
            </a:extLst>
          </p:cNvPr>
          <p:cNvGrpSpPr/>
          <p:nvPr/>
        </p:nvGrpSpPr>
        <p:grpSpPr>
          <a:xfrm>
            <a:off x="3066288" y="2960996"/>
            <a:ext cx="6066790" cy="936008"/>
            <a:chOff x="3066288" y="2960996"/>
            <a:chExt cx="6066790" cy="936008"/>
          </a:xfrm>
          <a:solidFill>
            <a:srgbClr val="FFFFFF"/>
          </a:solidFill>
        </p:grpSpPr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0C8303F-754F-F64F-A95E-F28A8ACD25F3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solidFill>
              <a:srgbClr val="FFFFFF"/>
            </a:solidFill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132C44F6-39BD-774A-863E-00A8FA057A8C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F118E90F-65A2-6C48-905B-48969DFE4950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4A794B11-9285-EE43-9DD9-00AB27DADFA7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64C16D40-313D-584F-B15B-26FDC903C92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7307374A-663F-6645-8A9E-07B38E91575D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7860892C-29F9-6B4E-AEF6-2BF2D0C06ABE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87B41319-4978-734A-8043-C5824F0E435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8C350C9E-957C-C640-AE32-83CF4C7B5823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A0A8A9B5-CDE0-3849-9065-9BA25051C7B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73AF24B7-08DA-E043-A376-952B1E9957E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9" name="Graphic 35">
              <a:extLst>
                <a:ext uri="{FF2B5EF4-FFF2-40B4-BE49-F238E27FC236}">
                  <a16:creationId xmlns:a16="http://schemas.microsoft.com/office/drawing/2014/main" id="{A0C8303F-754F-F64F-A95E-F28A8ACD25F3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solidFill>
              <a:srgbClr val="FFFFFF"/>
            </a:solidFill>
          </p:grpSpPr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66B15798-25D9-9C4A-AE8B-9F0398977E5E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73134AB2-94FB-9D43-A787-E9779BDA77C6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95046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6502400" y="0"/>
            <a:ext cx="56896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301103-3200-FC41-BFEB-1AC1666546E1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5365750" cy="132556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39788" y="1816100"/>
            <a:ext cx="5364162" cy="43815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63EA64-BF79-AE48-8436-A01533041BA1}"/>
              </a:ext>
            </a:extLst>
          </p:cNvPr>
          <p:cNvSpPr/>
          <p:nvPr userDrawn="1"/>
        </p:nvSpPr>
        <p:spPr>
          <a:xfrm>
            <a:off x="6473046" y="552695"/>
            <a:ext cx="87056" cy="62523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41067" y="745067"/>
            <a:ext cx="4511145" cy="5452533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1" name="Graphic 35">
            <a:extLst>
              <a:ext uri="{FF2B5EF4-FFF2-40B4-BE49-F238E27FC236}">
                <a16:creationId xmlns:a16="http://schemas.microsoft.com/office/drawing/2014/main" id="{CE7B0AEF-E0F7-D642-B4D1-B9FEF44AD34D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2" name="Graphic 35">
              <a:extLst>
                <a:ext uri="{FF2B5EF4-FFF2-40B4-BE49-F238E27FC236}">
                  <a16:creationId xmlns:a16="http://schemas.microsoft.com/office/drawing/2014/main" id="{ABFA4A02-DC56-AA44-956D-14662CF5C0CF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F3A90B1-5A8E-0341-B849-86B9BC77A38B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C812CB27-D2A0-5345-832B-D52AF8255967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3D721597-AEF5-8149-B97A-8B2ADFBAC545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44097E8F-33E7-4848-BC0F-280D4A59B6B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2086F457-8263-E74B-A1D8-24D340186B3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DED9934A-CA52-7047-923C-68185AFFF2B1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0D0A4F92-8C24-D045-B8AC-64F66DF7EA2A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35513DBD-A20D-EF47-91DA-654BA66F5D0C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0EB2C3A9-93BB-AD41-8605-6470C10012EB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A8041C5-135F-504C-9D38-E736687E386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3" name="Graphic 35">
              <a:extLst>
                <a:ext uri="{FF2B5EF4-FFF2-40B4-BE49-F238E27FC236}">
                  <a16:creationId xmlns:a16="http://schemas.microsoft.com/office/drawing/2014/main" id="{CBCC38B1-C4C6-2D45-B011-524D2C70E614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E080DBBC-85D2-F848-A256-42AC34E727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4028C2B5-957D-CA4B-8DB9-24D58B8D8F8F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5327426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22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4939621" cy="132556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80313" y="344557"/>
            <a:ext cx="4871900" cy="585304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9" y="1828800"/>
            <a:ext cx="4938159" cy="43688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532283A-F886-5643-8120-687F88165D48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5256212" cy="0"/>
          </a:xfrm>
          <a:prstGeom prst="line">
            <a:avLst/>
          </a:prstGeom>
          <a:ln w="317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pPr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8361671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3036D92-EDB4-F449-9A96-3C30DBDB7645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10010775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6D5DCFF-68AD-3642-A0E1-285DB65C8F47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8253675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7A01F2-73D9-1D47-94B4-44A5361911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27AD90-5BA6-DF46-A9CF-D0D4B10F5E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C581A82-E793-D447-B5B8-868C4EAC8719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8746526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2C53B-2B3C-E043-ACBF-96640AE2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E8CEC1-D10A-694D-9D61-1DD32159D9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741306-BA0F-9940-96CD-4F61E169D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AAB995-290C-914D-86F5-806E76AA3C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F082E9-B126-8943-A7B3-340093449F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030B19-D2CC-A140-AC74-E36052A72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0A4921-89AF-A24A-BDA7-EF753661FA59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22492DEC-543F-5E4E-A444-50DB57D8237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3156376-7B32-5347-820E-AC89B8DB3C48}" type="datetime1">
              <a:rPr lang="sv-SE" smtClean="0"/>
              <a:t>2021-08-17</a:t>
            </a:fld>
            <a:endParaRPr lang="sv-SE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AFC71E6-E949-354E-93F5-CC99FC90570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5692321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58502-9700-D542-821A-2083E362D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AEE99B-6E1A-E54F-8368-ACB0749BE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E6C0726-EF75-2142-899C-D269C9B2ECF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C8563F85-4E61-9C47-9038-91BBCE930C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D4E2F1E-E22B-C149-B84A-2264BD72A1F9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274DF96-EBB3-9E4A-895F-78CBD2DC73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0910170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F9CD62-ED6B-1545-8149-41636A6EA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AFA389D-24D0-4A45-9127-97FD3B1DF6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63C960E4-C2E9-3147-80DA-BF1E2FF3607C}" type="datetime1">
              <a:rPr lang="sv-SE" smtClean="0"/>
              <a:t>2021-08-17</a:t>
            </a:fld>
            <a:endParaRPr lang="sv-S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D8C2E84-C697-274F-B37A-A46FED941C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7926777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FD11E-E91F-5248-8705-F3DDE5014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B3E0D3-04E8-414C-8EA8-9C8FEF1112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342901"/>
            <a:ext cx="6172200" cy="5518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2752E2-C083-5048-9DE4-480DBE68CA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62F2C7-730C-5F40-8AC0-79ED6C64F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ECCAE9-2BB7-C049-A656-E3494F93386A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8587FA4-3226-374C-B6B6-C354E3A9C29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7F17FDD-2E84-EE4D-B2C6-E00BF4CF7953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26E50A8-421A-6041-8149-899D70BF55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3445641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1FA8BC-B6A3-614E-BE21-D590723D879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1"/>
            <a:ext cx="6096000" cy="6210300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3249B3-7FB2-0B4C-86CB-EEE079F96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32A79E-FCBE-F049-BE40-FEFDB5715F51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7D49BC98-9CCA-E84B-89C3-BCB83CF44D5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737AA5B-35A5-6C45-B138-84D01A6D8764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BCB4A82-3A95-D645-935D-8A677D461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2116BF-D726-9847-B983-EA4ED2F1C7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E6532F5-EC62-214D-B274-DD8EB23F8D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5353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2DF4C3-8A7B-DF45-9A62-C0CB239BB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5F4CF5C-6573-4749-9A20-9EFA7A990A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6AEB38-D082-C045-BA0D-EC7F790D2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F76CD50-D4B0-B041-91AB-79EB6B13E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13F8E547-F6BB-C949-9E38-DB9C4F9A07C7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E49E7A-64C9-E04F-A352-6A80C3FD6B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215706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2783840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rgbClr val="222E3A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rgbClr val="222E3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rgbClr val="222E3A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rgbClr val="222E3A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aphic 35">
            <a:extLst>
              <a:ext uri="{FF2B5EF4-FFF2-40B4-BE49-F238E27FC236}">
                <a16:creationId xmlns:a16="http://schemas.microsoft.com/office/drawing/2014/main" id="{4685A7FB-3D40-5342-930A-365BCCD33BE7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9" name="Graphic 35">
              <a:extLst>
                <a:ext uri="{FF2B5EF4-FFF2-40B4-BE49-F238E27FC236}">
                  <a16:creationId xmlns:a16="http://schemas.microsoft.com/office/drawing/2014/main" id="{EB7BC60E-27AF-A049-BD23-4F8C2EB5574E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1316DD5A-1BBA-6447-ABFC-7F66E6EA9CF5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6CCA888-896A-CD4C-998B-1EB940503430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214BA5C-CA1C-E54E-AE9C-9A7D22E1A2E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877A47AC-D1EB-DA44-A340-16291AD35BAF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3C2BE7D-B433-A547-B8B2-A98959CF58D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51160C-66C3-474D-8459-1FC11E42319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6649A6AA-29FE-454E-ACF9-A808923CFCE4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2327E638-E976-F944-8A67-2307AA45121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45F678DA-3B80-B34F-8A6D-DC2998CDA934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D0C78F57-9BBE-A843-A3CC-286A763BD83E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FD0C1F64-6CF5-624A-B7E6-1B774EC82E1B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F4DC62E5-87F5-294C-B9E4-C98160B6C76F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188DD3F5-8EBC-664A-82C5-CBEA36321CD8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5062681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58C16D-664F-FC45-A64F-6B56B78A19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CF9181-DD69-424F-B6CA-9285932384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5328B8-1FB4-CD49-9F22-D4F7A8200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CB64CE7B-20EC-BB43-AA79-1DB9A13609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D69886C4-47C7-3F4A-AABA-D750C1E0359A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26B77F-8D75-2C4B-BCE1-024C2A3C18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5591404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9439674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662916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3444448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068411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aphic 35">
            <a:extLst>
              <a:ext uri="{FF2B5EF4-FFF2-40B4-BE49-F238E27FC236}">
                <a16:creationId xmlns:a16="http://schemas.microsoft.com/office/drawing/2014/main" id="{E5B29532-0639-E04B-89F2-B544D5B8CB58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69" name="Graphic 35">
              <a:extLst>
                <a:ext uri="{FF2B5EF4-FFF2-40B4-BE49-F238E27FC236}">
                  <a16:creationId xmlns:a16="http://schemas.microsoft.com/office/drawing/2014/main" id="{B66167E8-A8E7-514F-8F19-753F9919EA07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73" name="Freeform 72">
                <a:extLst>
                  <a:ext uri="{FF2B5EF4-FFF2-40B4-BE49-F238E27FC236}">
                    <a16:creationId xmlns:a16="http://schemas.microsoft.com/office/drawing/2014/main" id="{94F5019A-C619-AF49-919A-3F1A32628F25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3F5D8652-F1AD-6149-A138-208991E161A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8E9DC377-DD62-5B4C-8F1C-D32B102D3B9F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6" name="Freeform 75">
                <a:extLst>
                  <a:ext uri="{FF2B5EF4-FFF2-40B4-BE49-F238E27FC236}">
                    <a16:creationId xmlns:a16="http://schemas.microsoft.com/office/drawing/2014/main" id="{E6F4F513-9088-0247-B001-C471835E0F38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7" name="Freeform 76">
                <a:extLst>
                  <a:ext uri="{FF2B5EF4-FFF2-40B4-BE49-F238E27FC236}">
                    <a16:creationId xmlns:a16="http://schemas.microsoft.com/office/drawing/2014/main" id="{7B586C99-DC05-9C47-8865-B8449F1EFE52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8" name="Freeform 77">
                <a:extLst>
                  <a:ext uri="{FF2B5EF4-FFF2-40B4-BE49-F238E27FC236}">
                    <a16:creationId xmlns:a16="http://schemas.microsoft.com/office/drawing/2014/main" id="{6620DB92-99A9-4F4A-8D27-3AA265B42F63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9" name="Freeform 78">
                <a:extLst>
                  <a:ext uri="{FF2B5EF4-FFF2-40B4-BE49-F238E27FC236}">
                    <a16:creationId xmlns:a16="http://schemas.microsoft.com/office/drawing/2014/main" id="{BF169676-A83A-2147-8986-348DD9B683BD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0" name="Freeform 79">
                <a:extLst>
                  <a:ext uri="{FF2B5EF4-FFF2-40B4-BE49-F238E27FC236}">
                    <a16:creationId xmlns:a16="http://schemas.microsoft.com/office/drawing/2014/main" id="{C8B5D701-7972-3940-B1D5-6F6F36D47994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5B6E952F-C48C-0244-936C-AC5ADC37E219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2682892A-BFD4-6A4D-9876-B44656B49F5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70" name="Graphic 35">
              <a:extLst>
                <a:ext uri="{FF2B5EF4-FFF2-40B4-BE49-F238E27FC236}">
                  <a16:creationId xmlns:a16="http://schemas.microsoft.com/office/drawing/2014/main" id="{F2813A03-CDAE-FF44-9509-3A98D5854D64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71" name="Freeform 70">
                <a:extLst>
                  <a:ext uri="{FF2B5EF4-FFF2-40B4-BE49-F238E27FC236}">
                    <a16:creationId xmlns:a16="http://schemas.microsoft.com/office/drawing/2014/main" id="{68D4DBEE-EDBE-0746-B871-CB31F9D8F599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2" name="Freeform 71">
                <a:extLst>
                  <a:ext uri="{FF2B5EF4-FFF2-40B4-BE49-F238E27FC236}">
                    <a16:creationId xmlns:a16="http://schemas.microsoft.com/office/drawing/2014/main" id="{587BAFC3-BFF6-FC41-AEAD-9E21531A0461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3777569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1031993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3358894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2081008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309025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DAF3B6-C613-3F47-A52D-28125B15C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3B4B79B-D8CB-E54D-BF14-50221E075E0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33620459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9341229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428290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8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6922066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9">
    <p:bg>
      <p:bgPr>
        <a:blipFill dpi="0"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149574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0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6780995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5494662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999833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1660318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3036D92-EDB4-F449-9A96-3C30DBDB76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5148263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noFill/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BEE517F5-6182-C74C-8455-9B52A1C544E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E6A9A1-C6C1-5143-8DD5-B994A995B009}"/>
              </a:ext>
            </a:extLst>
          </p:cNvPr>
          <p:cNvCxnSpPr>
            <a:cxnSpLocks/>
            <a:stCxn id="8" idx="3"/>
          </p:cNvCxnSpPr>
          <p:nvPr userDrawn="1"/>
        </p:nvCxnSpPr>
        <p:spPr>
          <a:xfrm>
            <a:off x="3314700" y="6539949"/>
            <a:ext cx="6954715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0071186A-5FF0-A94E-9F89-BFBA43C89A9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716E6067-465F-6747-8484-394781D4F04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67065E1D-639E-1F43-9ECB-F2D10F0177A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AAE25362-6A89-3642-8925-26012FCD4C02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326208A4-87CD-DC44-9284-C29AFAEA9B0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D65B1FCD-BC70-FD46-85F8-F19728A90A1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532B2370-8F37-A746-88C8-471D6FC93113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62944B23-DE6A-484F-A54A-8A0D1BF76A9F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BA919DC1-8419-3B4F-B66F-F857BE329D6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EA6B1726-C399-524A-934A-8B9F8273BF1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C8AC062-CB26-3C4B-BF5C-71316381CB5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CD3DAC72-BC01-CB4A-AE23-CB5569E9475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FA4527FB-9018-4147-BF44-1B59C6B1E36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B6526FFB-F46B-1B4C-94A0-CB54397F00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D253CFE6-0BF6-8446-AE20-0B9AAB8A803A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7176593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5148263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noFill/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BEE517F5-6182-C74C-8455-9B52A1C544E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E6A9A1-C6C1-5143-8DD5-B994A995B009}"/>
              </a:ext>
            </a:extLst>
          </p:cNvPr>
          <p:cNvCxnSpPr>
            <a:cxnSpLocks/>
            <a:stCxn id="8" idx="3"/>
          </p:cNvCxnSpPr>
          <p:nvPr userDrawn="1"/>
        </p:nvCxnSpPr>
        <p:spPr>
          <a:xfrm>
            <a:off x="3314700" y="6539949"/>
            <a:ext cx="6954715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0071186A-5FF0-A94E-9F89-BFBA43C89A9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716E6067-465F-6747-8484-394781D4F04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67065E1D-639E-1F43-9ECB-F2D10F0177A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AAE25362-6A89-3642-8925-26012FCD4C02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326208A4-87CD-DC44-9284-C29AFAEA9B0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D65B1FCD-BC70-FD46-85F8-F19728A90A1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532B2370-8F37-A746-88C8-471D6FC93113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62944B23-DE6A-484F-A54A-8A0D1BF76A9F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BA919DC1-8419-3B4F-B66F-F857BE329D6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EA6B1726-C399-524A-934A-8B9F8273BF1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C8AC062-CB26-3C4B-BF5C-71316381CB5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CD3DAC72-BC01-CB4A-AE23-CB5569E9475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FA4527FB-9018-4147-BF44-1B59C6B1E36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B6526FFB-F46B-1B4C-94A0-CB54397F00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D253CFE6-0BF6-8446-AE20-0B9AAB8A803A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633715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aphic 35">
            <a:extLst>
              <a:ext uri="{FF2B5EF4-FFF2-40B4-BE49-F238E27FC236}">
                <a16:creationId xmlns:a16="http://schemas.microsoft.com/office/drawing/2014/main" id="{E5B29532-0639-E04B-89F2-B544D5B8CB58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69" name="Graphic 35">
              <a:extLst>
                <a:ext uri="{FF2B5EF4-FFF2-40B4-BE49-F238E27FC236}">
                  <a16:creationId xmlns:a16="http://schemas.microsoft.com/office/drawing/2014/main" id="{B66167E8-A8E7-514F-8F19-753F9919EA07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73" name="Freeform 72">
                <a:extLst>
                  <a:ext uri="{FF2B5EF4-FFF2-40B4-BE49-F238E27FC236}">
                    <a16:creationId xmlns:a16="http://schemas.microsoft.com/office/drawing/2014/main" id="{94F5019A-C619-AF49-919A-3F1A32628F25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3F5D8652-F1AD-6149-A138-208991E161A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8E9DC377-DD62-5B4C-8F1C-D32B102D3B9F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6" name="Freeform 75">
                <a:extLst>
                  <a:ext uri="{FF2B5EF4-FFF2-40B4-BE49-F238E27FC236}">
                    <a16:creationId xmlns:a16="http://schemas.microsoft.com/office/drawing/2014/main" id="{E6F4F513-9088-0247-B001-C471835E0F38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7" name="Freeform 76">
                <a:extLst>
                  <a:ext uri="{FF2B5EF4-FFF2-40B4-BE49-F238E27FC236}">
                    <a16:creationId xmlns:a16="http://schemas.microsoft.com/office/drawing/2014/main" id="{7B586C99-DC05-9C47-8865-B8449F1EFE52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8" name="Freeform 77">
                <a:extLst>
                  <a:ext uri="{FF2B5EF4-FFF2-40B4-BE49-F238E27FC236}">
                    <a16:creationId xmlns:a16="http://schemas.microsoft.com/office/drawing/2014/main" id="{6620DB92-99A9-4F4A-8D27-3AA265B42F63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9" name="Freeform 78">
                <a:extLst>
                  <a:ext uri="{FF2B5EF4-FFF2-40B4-BE49-F238E27FC236}">
                    <a16:creationId xmlns:a16="http://schemas.microsoft.com/office/drawing/2014/main" id="{BF169676-A83A-2147-8986-348DD9B683BD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0" name="Freeform 79">
                <a:extLst>
                  <a:ext uri="{FF2B5EF4-FFF2-40B4-BE49-F238E27FC236}">
                    <a16:creationId xmlns:a16="http://schemas.microsoft.com/office/drawing/2014/main" id="{C8B5D701-7972-3940-B1D5-6F6F36D47994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5B6E952F-C48C-0244-936C-AC5ADC37E219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2682892A-BFD4-6A4D-9876-B44656B49F5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70" name="Graphic 35">
              <a:extLst>
                <a:ext uri="{FF2B5EF4-FFF2-40B4-BE49-F238E27FC236}">
                  <a16:creationId xmlns:a16="http://schemas.microsoft.com/office/drawing/2014/main" id="{F2813A03-CDAE-FF44-9509-3A98D5854D64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71" name="Freeform 70">
                <a:extLst>
                  <a:ext uri="{FF2B5EF4-FFF2-40B4-BE49-F238E27FC236}">
                    <a16:creationId xmlns:a16="http://schemas.microsoft.com/office/drawing/2014/main" id="{68D4DBEE-EDBE-0746-B871-CB31F9D8F599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2" name="Freeform 71">
                <a:extLst>
                  <a:ext uri="{FF2B5EF4-FFF2-40B4-BE49-F238E27FC236}">
                    <a16:creationId xmlns:a16="http://schemas.microsoft.com/office/drawing/2014/main" id="{587BAFC3-BFF6-FC41-AEAD-9E21531A0461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144525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57DD505B-D4FC-8B46-A5A2-95AB140845E0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A44464-093E-9B41-9249-8AAB6929B0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7" y="1816100"/>
            <a:ext cx="10512425" cy="43815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612312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aphic 35">
            <a:extLst>
              <a:ext uri="{FF2B5EF4-FFF2-40B4-BE49-F238E27FC236}">
                <a16:creationId xmlns:a16="http://schemas.microsoft.com/office/drawing/2014/main" id="{A0C8303F-754F-F64F-A95E-F28A8ACD25F3}"/>
              </a:ext>
            </a:extLst>
          </p:cNvPr>
          <p:cNvGrpSpPr/>
          <p:nvPr/>
        </p:nvGrpSpPr>
        <p:grpSpPr>
          <a:xfrm>
            <a:off x="3066288" y="2960996"/>
            <a:ext cx="6066790" cy="936008"/>
            <a:chOff x="3066288" y="2960996"/>
            <a:chExt cx="6066790" cy="936008"/>
          </a:xfrm>
          <a:solidFill>
            <a:srgbClr val="FFFFFF"/>
          </a:solidFill>
        </p:grpSpPr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0C8303F-754F-F64F-A95E-F28A8ACD25F3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solidFill>
              <a:srgbClr val="FFFFFF"/>
            </a:solidFill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132C44F6-39BD-774A-863E-00A8FA057A8C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F118E90F-65A2-6C48-905B-48969DFE4950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4A794B11-9285-EE43-9DD9-00AB27DADFA7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64C16D40-313D-584F-B15B-26FDC903C92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7307374A-663F-6645-8A9E-07B38E91575D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7860892C-29F9-6B4E-AEF6-2BF2D0C06ABE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87B41319-4978-734A-8043-C5824F0E435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8C350C9E-957C-C640-AE32-83CF4C7B5823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A0A8A9B5-CDE0-3849-9065-9BA25051C7B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73AF24B7-08DA-E043-A376-952B1E9957E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9" name="Graphic 35">
              <a:extLst>
                <a:ext uri="{FF2B5EF4-FFF2-40B4-BE49-F238E27FC236}">
                  <a16:creationId xmlns:a16="http://schemas.microsoft.com/office/drawing/2014/main" id="{A0C8303F-754F-F64F-A95E-F28A8ACD25F3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solidFill>
              <a:srgbClr val="FFFFFF"/>
            </a:solidFill>
          </p:grpSpPr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66B15798-25D9-9C4A-AE8B-9F0398977E5E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73134AB2-94FB-9D43-A787-E9779BDA77C6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458501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57DD505B-D4FC-8B46-A5A2-95AB140845E0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A44464-093E-9B41-9249-8AAB6929B0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7" y="1816100"/>
            <a:ext cx="10512425" cy="43815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55843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F9CD62-ED6B-1545-8149-41636A6EA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AFA389D-24D0-4A45-9127-97FD3B1DF6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63C960E4-C2E9-3147-80DA-BF1E2FF3607C}" type="datetime1">
              <a:rPr lang="sv-SE" smtClean="0"/>
              <a:t>2021-08-17</a:t>
            </a:fld>
            <a:endParaRPr lang="sv-S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D8C2E84-C697-274F-B37A-A46FED941C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2526617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2783840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rgbClr val="222E3A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rgbClr val="222E3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rgbClr val="222E3A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rgbClr val="222E3A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aphic 35">
            <a:extLst>
              <a:ext uri="{FF2B5EF4-FFF2-40B4-BE49-F238E27FC236}">
                <a16:creationId xmlns:a16="http://schemas.microsoft.com/office/drawing/2014/main" id="{4685A7FB-3D40-5342-930A-365BCCD33BE7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9" name="Graphic 35">
              <a:extLst>
                <a:ext uri="{FF2B5EF4-FFF2-40B4-BE49-F238E27FC236}">
                  <a16:creationId xmlns:a16="http://schemas.microsoft.com/office/drawing/2014/main" id="{EB7BC60E-27AF-A049-BD23-4F8C2EB5574E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1316DD5A-1BBA-6447-ABFC-7F66E6EA9CF5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6CCA888-896A-CD4C-998B-1EB940503430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214BA5C-CA1C-E54E-AE9C-9A7D22E1A2E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877A47AC-D1EB-DA44-A340-16291AD35BAF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3C2BE7D-B433-A547-B8B2-A98959CF58D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51160C-66C3-474D-8459-1FC11E42319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6649A6AA-29FE-454E-ACF9-A808923CFCE4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2327E638-E976-F944-8A67-2307AA45121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45F678DA-3B80-B34F-8A6D-DC2998CDA934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D0C78F57-9BBE-A843-A3CC-286A763BD83E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FD0C1F64-6CF5-624A-B7E6-1B774EC82E1B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F4DC62E5-87F5-294C-B9E4-C98160B6C76F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188DD3F5-8EBC-664A-82C5-CBEA36321CD8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0021349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DAF3B6-C613-3F47-A52D-28125B15C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3B4B79B-D8CB-E54D-BF14-50221E075E0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7577064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57DD505B-D4FC-8B46-A5A2-95AB140845E0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A44464-093E-9B41-9249-8AAB6929B0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7" y="1816100"/>
            <a:ext cx="10512425" cy="43815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4797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6502400" y="0"/>
            <a:ext cx="56896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301103-3200-FC41-BFEB-1AC1666546E1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5365750" cy="132556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39788" y="1816100"/>
            <a:ext cx="5364162" cy="43815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63EA64-BF79-AE48-8436-A01533041BA1}"/>
              </a:ext>
            </a:extLst>
          </p:cNvPr>
          <p:cNvSpPr/>
          <p:nvPr userDrawn="1"/>
        </p:nvSpPr>
        <p:spPr>
          <a:xfrm>
            <a:off x="6473046" y="552695"/>
            <a:ext cx="87056" cy="62523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41067" y="745067"/>
            <a:ext cx="4511145" cy="5452533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1" name="Graphic 35">
            <a:extLst>
              <a:ext uri="{FF2B5EF4-FFF2-40B4-BE49-F238E27FC236}">
                <a16:creationId xmlns:a16="http://schemas.microsoft.com/office/drawing/2014/main" id="{CE7B0AEF-E0F7-D642-B4D1-B9FEF44AD34D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2" name="Graphic 35">
              <a:extLst>
                <a:ext uri="{FF2B5EF4-FFF2-40B4-BE49-F238E27FC236}">
                  <a16:creationId xmlns:a16="http://schemas.microsoft.com/office/drawing/2014/main" id="{ABFA4A02-DC56-AA44-956D-14662CF5C0CF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F3A90B1-5A8E-0341-B849-86B9BC77A38B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C812CB27-D2A0-5345-832B-D52AF8255967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3D721597-AEF5-8149-B97A-8B2ADFBAC545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44097E8F-33E7-4848-BC0F-280D4A59B6B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2086F457-8263-E74B-A1D8-24D340186B3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DED9934A-CA52-7047-923C-68185AFFF2B1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0D0A4F92-8C24-D045-B8AC-64F66DF7EA2A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35513DBD-A20D-EF47-91DA-654BA66F5D0C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0EB2C3A9-93BB-AD41-8605-6470C10012EB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A8041C5-135F-504C-9D38-E736687E386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3" name="Graphic 35">
              <a:extLst>
                <a:ext uri="{FF2B5EF4-FFF2-40B4-BE49-F238E27FC236}">
                  <a16:creationId xmlns:a16="http://schemas.microsoft.com/office/drawing/2014/main" id="{CBCC38B1-C4C6-2D45-B011-524D2C70E614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E080DBBC-85D2-F848-A256-42AC34E727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4028C2B5-957D-CA4B-8DB9-24D58B8D8F8F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17675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22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4939621" cy="132556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80313" y="344557"/>
            <a:ext cx="4871900" cy="585304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9" y="1828800"/>
            <a:ext cx="4938159" cy="43688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532283A-F886-5643-8120-687F88165D48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5256212" cy="0"/>
          </a:xfrm>
          <a:prstGeom prst="line">
            <a:avLst/>
          </a:prstGeom>
          <a:ln w="317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pPr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9502775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3036D92-EDB4-F449-9A96-3C30DBDB7645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10010775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6D5DCFF-68AD-3642-A0E1-285DB65C8F47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0340091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7A01F2-73D9-1D47-94B4-44A5361911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27AD90-5BA6-DF46-A9CF-D0D4B10F5E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C581A82-E793-D447-B5B8-868C4EAC8719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400013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6502400" y="0"/>
            <a:ext cx="56896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301103-3200-FC41-BFEB-1AC1666546E1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5365750" cy="132556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39788" y="1816100"/>
            <a:ext cx="5364162" cy="43815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63EA64-BF79-AE48-8436-A01533041BA1}"/>
              </a:ext>
            </a:extLst>
          </p:cNvPr>
          <p:cNvSpPr/>
          <p:nvPr userDrawn="1"/>
        </p:nvSpPr>
        <p:spPr>
          <a:xfrm>
            <a:off x="6473046" y="552695"/>
            <a:ext cx="87056" cy="62523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41067" y="745067"/>
            <a:ext cx="4511145" cy="5452533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1" name="Graphic 35">
            <a:extLst>
              <a:ext uri="{FF2B5EF4-FFF2-40B4-BE49-F238E27FC236}">
                <a16:creationId xmlns:a16="http://schemas.microsoft.com/office/drawing/2014/main" id="{CE7B0AEF-E0F7-D642-B4D1-B9FEF44AD34D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2" name="Graphic 35">
              <a:extLst>
                <a:ext uri="{FF2B5EF4-FFF2-40B4-BE49-F238E27FC236}">
                  <a16:creationId xmlns:a16="http://schemas.microsoft.com/office/drawing/2014/main" id="{ABFA4A02-DC56-AA44-956D-14662CF5C0CF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F3A90B1-5A8E-0341-B849-86B9BC77A38B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C812CB27-D2A0-5345-832B-D52AF8255967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3D721597-AEF5-8149-B97A-8B2ADFBAC545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44097E8F-33E7-4848-BC0F-280D4A59B6B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2086F457-8263-E74B-A1D8-24D340186B3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DED9934A-CA52-7047-923C-68185AFFF2B1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0D0A4F92-8C24-D045-B8AC-64F66DF7EA2A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35513DBD-A20D-EF47-91DA-654BA66F5D0C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0EB2C3A9-93BB-AD41-8605-6470C10012EB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A8041C5-135F-504C-9D38-E736687E386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3" name="Graphic 35">
              <a:extLst>
                <a:ext uri="{FF2B5EF4-FFF2-40B4-BE49-F238E27FC236}">
                  <a16:creationId xmlns:a16="http://schemas.microsoft.com/office/drawing/2014/main" id="{CBCC38B1-C4C6-2D45-B011-524D2C70E614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E080DBBC-85D2-F848-A256-42AC34E727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4028C2B5-957D-CA4B-8DB9-24D58B8D8F8F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9687193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2C53B-2B3C-E043-ACBF-96640AE2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E8CEC1-D10A-694D-9D61-1DD32159D9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741306-BA0F-9940-96CD-4F61E169D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AAB995-290C-914D-86F5-806E76AA3C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F082E9-B126-8943-A7B3-340093449F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030B19-D2CC-A140-AC74-E36052A72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0A4921-89AF-A24A-BDA7-EF753661FA59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22492DEC-543F-5E4E-A444-50DB57D8237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3156376-7B32-5347-820E-AC89B8DB3C48}" type="datetime1">
              <a:rPr lang="sv-SE" smtClean="0"/>
              <a:t>2021-08-17</a:t>
            </a:fld>
            <a:endParaRPr lang="sv-SE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AFC71E6-E949-354E-93F5-CC99FC90570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9331392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58502-9700-D542-821A-2083E362D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AEE99B-6E1A-E54F-8368-ACB0749BE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E6C0726-EF75-2142-899C-D269C9B2ECF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C8563F85-4E61-9C47-9038-91BBCE930C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D4E2F1E-E22B-C149-B84A-2264BD72A1F9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274DF96-EBB3-9E4A-895F-78CBD2DC73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4473381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F9CD62-ED6B-1545-8149-41636A6EA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AFA389D-24D0-4A45-9127-97FD3B1DF6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63C960E4-C2E9-3147-80DA-BF1E2FF3607C}" type="datetime1">
              <a:rPr lang="sv-SE" smtClean="0"/>
              <a:t>2021-08-17</a:t>
            </a:fld>
            <a:endParaRPr lang="sv-S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D8C2E84-C697-274F-B37A-A46FED941C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0852581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FD11E-E91F-5248-8705-F3DDE5014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B3E0D3-04E8-414C-8EA8-9C8FEF1112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342901"/>
            <a:ext cx="6172200" cy="5518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2752E2-C083-5048-9DE4-480DBE68CA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62F2C7-730C-5F40-8AC0-79ED6C64F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ECCAE9-2BB7-C049-A656-E3494F93386A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8587FA4-3226-374C-B6B6-C354E3A9C29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7F17FDD-2E84-EE4D-B2C6-E00BF4CF7953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26E50A8-421A-6041-8149-899D70BF55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8932082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1FA8BC-B6A3-614E-BE21-D590723D879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1"/>
            <a:ext cx="6096000" cy="6210300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3249B3-7FB2-0B4C-86CB-EEE079F96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32A79E-FCBE-F049-BE40-FEFDB5715F51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7D49BC98-9CCA-E84B-89C3-BCB83CF44D5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737AA5B-35A5-6C45-B138-84D01A6D8764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BCB4A82-3A95-D645-935D-8A677D461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2116BF-D726-9847-B983-EA4ED2F1C7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E6532F5-EC62-214D-B274-DD8EB23F8D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0853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2DF4C3-8A7B-DF45-9A62-C0CB239BB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5F4CF5C-6573-4749-9A20-9EFA7A990A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6AEB38-D082-C045-BA0D-EC7F790D2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F76CD50-D4B0-B041-91AB-79EB6B13E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13F8E547-F6BB-C949-9E38-DB9C4F9A07C7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E49E7A-64C9-E04F-A352-6A80C3FD6B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6458042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58C16D-664F-FC45-A64F-6B56B78A19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CF9181-DD69-424F-B6CA-9285932384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5328B8-1FB4-CD49-9F22-D4F7A8200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CB64CE7B-20EC-BB43-AA79-1DB9A13609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D69886C4-47C7-3F4A-AABA-D750C1E0359A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26B77F-8D75-2C4B-BCE1-024C2A3C18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5416564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905724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2783840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rgbClr val="222E3A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rgbClr val="222E3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rgbClr val="222E3A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rgbClr val="222E3A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aphic 35">
            <a:extLst>
              <a:ext uri="{FF2B5EF4-FFF2-40B4-BE49-F238E27FC236}">
                <a16:creationId xmlns:a16="http://schemas.microsoft.com/office/drawing/2014/main" id="{4685A7FB-3D40-5342-930A-365BCCD33BE7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9" name="Graphic 35">
              <a:extLst>
                <a:ext uri="{FF2B5EF4-FFF2-40B4-BE49-F238E27FC236}">
                  <a16:creationId xmlns:a16="http://schemas.microsoft.com/office/drawing/2014/main" id="{EB7BC60E-27AF-A049-BD23-4F8C2EB5574E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1316DD5A-1BBA-6447-ABFC-7F66E6EA9CF5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6CCA888-896A-CD4C-998B-1EB940503430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214BA5C-CA1C-E54E-AE9C-9A7D22E1A2E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877A47AC-D1EB-DA44-A340-16291AD35BAF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3C2BE7D-B433-A547-B8B2-A98959CF58D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51160C-66C3-474D-8459-1FC11E42319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6649A6AA-29FE-454E-ACF9-A808923CFCE4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2327E638-E976-F944-8A67-2307AA45121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45F678DA-3B80-B34F-8A6D-DC2998CDA934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D0C78F57-9BBE-A843-A3CC-286A763BD83E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FD0C1F64-6CF5-624A-B7E6-1B774EC82E1B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F4DC62E5-87F5-294C-B9E4-C98160B6C76F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188DD3F5-8EBC-664A-82C5-CBEA36321CD8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5506044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DAF3B6-C613-3F47-A52D-28125B15C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3B4B79B-D8CB-E54D-BF14-50221E075E0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790502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22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4939621" cy="132556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80313" y="344557"/>
            <a:ext cx="4871900" cy="585304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9" y="1828800"/>
            <a:ext cx="4938159" cy="43688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532283A-F886-5643-8120-687F88165D48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5256212" cy="0"/>
          </a:xfrm>
          <a:prstGeom prst="line">
            <a:avLst/>
          </a:prstGeom>
          <a:ln w="317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pPr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68385301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57DD505B-D4FC-8B46-A5A2-95AB140845E0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A44464-093E-9B41-9249-8AAB6929B0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7" y="1816100"/>
            <a:ext cx="10512425" cy="43815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060636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6502400" y="0"/>
            <a:ext cx="56896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301103-3200-FC41-BFEB-1AC1666546E1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5365750" cy="132556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39788" y="1816100"/>
            <a:ext cx="5364162" cy="43815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63EA64-BF79-AE48-8436-A01533041BA1}"/>
              </a:ext>
            </a:extLst>
          </p:cNvPr>
          <p:cNvSpPr/>
          <p:nvPr userDrawn="1"/>
        </p:nvSpPr>
        <p:spPr>
          <a:xfrm>
            <a:off x="6473046" y="552695"/>
            <a:ext cx="87056" cy="62523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41067" y="745067"/>
            <a:ext cx="4511145" cy="5452533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1" name="Graphic 35">
            <a:extLst>
              <a:ext uri="{FF2B5EF4-FFF2-40B4-BE49-F238E27FC236}">
                <a16:creationId xmlns:a16="http://schemas.microsoft.com/office/drawing/2014/main" id="{CE7B0AEF-E0F7-D642-B4D1-B9FEF44AD34D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2" name="Graphic 35">
              <a:extLst>
                <a:ext uri="{FF2B5EF4-FFF2-40B4-BE49-F238E27FC236}">
                  <a16:creationId xmlns:a16="http://schemas.microsoft.com/office/drawing/2014/main" id="{ABFA4A02-DC56-AA44-956D-14662CF5C0CF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F3A90B1-5A8E-0341-B849-86B9BC77A38B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C812CB27-D2A0-5345-832B-D52AF8255967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3D721597-AEF5-8149-B97A-8B2ADFBAC545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44097E8F-33E7-4848-BC0F-280D4A59B6B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2086F457-8263-E74B-A1D8-24D340186B3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DED9934A-CA52-7047-923C-68185AFFF2B1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0D0A4F92-8C24-D045-B8AC-64F66DF7EA2A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35513DBD-A20D-EF47-91DA-654BA66F5D0C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0EB2C3A9-93BB-AD41-8605-6470C10012EB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A8041C5-135F-504C-9D38-E736687E386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3" name="Graphic 35">
              <a:extLst>
                <a:ext uri="{FF2B5EF4-FFF2-40B4-BE49-F238E27FC236}">
                  <a16:creationId xmlns:a16="http://schemas.microsoft.com/office/drawing/2014/main" id="{CBCC38B1-C4C6-2D45-B011-524D2C70E614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E080DBBC-85D2-F848-A256-42AC34E727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4028C2B5-957D-CA4B-8DB9-24D58B8D8F8F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5295065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22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4939621" cy="132556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80313" y="344557"/>
            <a:ext cx="4871900" cy="585304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9" y="1828800"/>
            <a:ext cx="4938159" cy="43688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532283A-F886-5643-8120-687F88165D48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5256212" cy="0"/>
          </a:xfrm>
          <a:prstGeom prst="line">
            <a:avLst/>
          </a:prstGeom>
          <a:ln w="317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pPr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1620547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3036D92-EDB4-F449-9A96-3C30DBDB7645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10010775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6D5DCFF-68AD-3642-A0E1-285DB65C8F47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8378119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7A01F2-73D9-1D47-94B4-44A5361911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27AD90-5BA6-DF46-A9CF-D0D4B10F5E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C581A82-E793-D447-B5B8-868C4EAC8719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83797046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2C53B-2B3C-E043-ACBF-96640AE2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E8CEC1-D10A-694D-9D61-1DD32159D9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741306-BA0F-9940-96CD-4F61E169D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AAB995-290C-914D-86F5-806E76AA3C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F082E9-B126-8943-A7B3-340093449F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030B19-D2CC-A140-AC74-E36052A72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0A4921-89AF-A24A-BDA7-EF753661FA59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22492DEC-543F-5E4E-A444-50DB57D8237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3156376-7B32-5347-820E-AC89B8DB3C48}" type="datetime1">
              <a:rPr lang="sv-SE" smtClean="0"/>
              <a:t>2021-08-17</a:t>
            </a:fld>
            <a:endParaRPr lang="sv-SE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AFC71E6-E949-354E-93F5-CC99FC90570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2325914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58502-9700-D542-821A-2083E362D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AEE99B-6E1A-E54F-8368-ACB0749BE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E6C0726-EF75-2142-899C-D269C9B2ECF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C8563F85-4E61-9C47-9038-91BBCE930C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D4E2F1E-E22B-C149-B84A-2264BD72A1F9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274DF96-EBB3-9E4A-895F-78CBD2DC73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512104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F9CD62-ED6B-1545-8149-41636A6EA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AFA389D-24D0-4A45-9127-97FD3B1DF6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63C960E4-C2E9-3147-80DA-BF1E2FF3607C}" type="datetime1">
              <a:rPr lang="sv-SE" smtClean="0"/>
              <a:t>2021-08-17</a:t>
            </a:fld>
            <a:endParaRPr lang="sv-S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D8C2E84-C697-274F-B37A-A46FED941C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81322148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FD11E-E91F-5248-8705-F3DDE5014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B3E0D3-04E8-414C-8EA8-9C8FEF1112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342901"/>
            <a:ext cx="6172200" cy="5518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2752E2-C083-5048-9DE4-480DBE68CA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62F2C7-730C-5F40-8AC0-79ED6C64F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ECCAE9-2BB7-C049-A656-E3494F93386A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8587FA4-3226-374C-B6B6-C354E3A9C29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7F17FDD-2E84-EE4D-B2C6-E00BF4CF7953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26E50A8-421A-6041-8149-899D70BF55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13869500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1FA8BC-B6A3-614E-BE21-D590723D879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1"/>
            <a:ext cx="6096000" cy="6210300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3249B3-7FB2-0B4C-86CB-EEE079F96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32A79E-FCBE-F049-BE40-FEFDB5715F51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7D49BC98-9CCA-E84B-89C3-BCB83CF44D5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737AA5B-35A5-6C45-B138-84D01A6D8764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BCB4A82-3A95-D645-935D-8A677D461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2116BF-D726-9847-B983-EA4ED2F1C7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E6532F5-EC62-214D-B274-DD8EB23F8D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71663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3036D92-EDB4-F449-9A96-3C30DBDB7645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10010775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6D5DCFF-68AD-3642-A0E1-285DB65C8F47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2025212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2DF4C3-8A7B-DF45-9A62-C0CB239BB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5F4CF5C-6573-4749-9A20-9EFA7A990A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6AEB38-D082-C045-BA0D-EC7F790D2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F76CD50-D4B0-B041-91AB-79EB6B13E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13F8E547-F6BB-C949-9E38-DB9C4F9A07C7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E49E7A-64C9-E04F-A352-6A80C3FD6B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84205545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58C16D-664F-FC45-A64F-6B56B78A19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CF9181-DD69-424F-B6CA-9285932384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5328B8-1FB4-CD49-9F22-D4F7A8200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CB64CE7B-20EC-BB43-AA79-1DB9A13609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D69886C4-47C7-3F4A-AABA-D750C1E0359A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26B77F-8D75-2C4B-BCE1-024C2A3C18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98685753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7622669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12479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aphic 35">
            <a:extLst>
              <a:ext uri="{FF2B5EF4-FFF2-40B4-BE49-F238E27FC236}">
                <a16:creationId xmlns:a16="http://schemas.microsoft.com/office/drawing/2014/main" id="{E5B29532-0639-E04B-89F2-B544D5B8CB58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69" name="Graphic 35">
              <a:extLst>
                <a:ext uri="{FF2B5EF4-FFF2-40B4-BE49-F238E27FC236}">
                  <a16:creationId xmlns:a16="http://schemas.microsoft.com/office/drawing/2014/main" id="{B66167E8-A8E7-514F-8F19-753F9919EA07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73" name="Freeform 72">
                <a:extLst>
                  <a:ext uri="{FF2B5EF4-FFF2-40B4-BE49-F238E27FC236}">
                    <a16:creationId xmlns:a16="http://schemas.microsoft.com/office/drawing/2014/main" id="{94F5019A-C619-AF49-919A-3F1A32628F25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3F5D8652-F1AD-6149-A138-208991E161A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8E9DC377-DD62-5B4C-8F1C-D32B102D3B9F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6" name="Freeform 75">
                <a:extLst>
                  <a:ext uri="{FF2B5EF4-FFF2-40B4-BE49-F238E27FC236}">
                    <a16:creationId xmlns:a16="http://schemas.microsoft.com/office/drawing/2014/main" id="{E6F4F513-9088-0247-B001-C471835E0F38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7" name="Freeform 76">
                <a:extLst>
                  <a:ext uri="{FF2B5EF4-FFF2-40B4-BE49-F238E27FC236}">
                    <a16:creationId xmlns:a16="http://schemas.microsoft.com/office/drawing/2014/main" id="{7B586C99-DC05-9C47-8865-B8449F1EFE52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8" name="Freeform 77">
                <a:extLst>
                  <a:ext uri="{FF2B5EF4-FFF2-40B4-BE49-F238E27FC236}">
                    <a16:creationId xmlns:a16="http://schemas.microsoft.com/office/drawing/2014/main" id="{6620DB92-99A9-4F4A-8D27-3AA265B42F63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9" name="Freeform 78">
                <a:extLst>
                  <a:ext uri="{FF2B5EF4-FFF2-40B4-BE49-F238E27FC236}">
                    <a16:creationId xmlns:a16="http://schemas.microsoft.com/office/drawing/2014/main" id="{BF169676-A83A-2147-8986-348DD9B683BD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0" name="Freeform 79">
                <a:extLst>
                  <a:ext uri="{FF2B5EF4-FFF2-40B4-BE49-F238E27FC236}">
                    <a16:creationId xmlns:a16="http://schemas.microsoft.com/office/drawing/2014/main" id="{C8B5D701-7972-3940-B1D5-6F6F36D47994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5B6E952F-C48C-0244-936C-AC5ADC37E219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2682892A-BFD4-6A4D-9876-B44656B49F5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70" name="Graphic 35">
              <a:extLst>
                <a:ext uri="{FF2B5EF4-FFF2-40B4-BE49-F238E27FC236}">
                  <a16:creationId xmlns:a16="http://schemas.microsoft.com/office/drawing/2014/main" id="{F2813A03-CDAE-FF44-9509-3A98D5854D64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71" name="Freeform 70">
                <a:extLst>
                  <a:ext uri="{FF2B5EF4-FFF2-40B4-BE49-F238E27FC236}">
                    <a16:creationId xmlns:a16="http://schemas.microsoft.com/office/drawing/2014/main" id="{68D4DBEE-EDBE-0746-B871-CB31F9D8F599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2" name="Freeform 71">
                <a:extLst>
                  <a:ext uri="{FF2B5EF4-FFF2-40B4-BE49-F238E27FC236}">
                    <a16:creationId xmlns:a16="http://schemas.microsoft.com/office/drawing/2014/main" id="{587BAFC3-BFF6-FC41-AEAD-9E21531A0461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16310938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8820843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4333704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921374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7636468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76272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7A01F2-73D9-1D47-94B4-44A5361911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27AD90-5BA6-DF46-A9CF-D0D4B10F5E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C581A82-E793-D447-B5B8-868C4EAC8719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0950508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3023834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8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022983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9">
    <p:bg>
      <p:bgPr>
        <a:blipFill dpi="0"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7341076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0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6351122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248921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9628446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34570320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3036D92-EDB4-F449-9A96-3C30DBDB76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5148263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noFill/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BEE517F5-6182-C74C-8455-9B52A1C544E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E6A9A1-C6C1-5143-8DD5-B994A995B009}"/>
              </a:ext>
            </a:extLst>
          </p:cNvPr>
          <p:cNvCxnSpPr>
            <a:cxnSpLocks/>
            <a:stCxn id="8" idx="3"/>
          </p:cNvCxnSpPr>
          <p:nvPr userDrawn="1"/>
        </p:nvCxnSpPr>
        <p:spPr>
          <a:xfrm>
            <a:off x="3314700" y="6539949"/>
            <a:ext cx="6954715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0071186A-5FF0-A94E-9F89-BFBA43C89A9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716E6067-465F-6747-8484-394781D4F04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67065E1D-639E-1F43-9ECB-F2D10F0177A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AAE25362-6A89-3642-8925-26012FCD4C02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326208A4-87CD-DC44-9284-C29AFAEA9B0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D65B1FCD-BC70-FD46-85F8-F19728A90A1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532B2370-8F37-A746-88C8-471D6FC93113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62944B23-DE6A-484F-A54A-8A0D1BF76A9F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BA919DC1-8419-3B4F-B66F-F857BE329D6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EA6B1726-C399-524A-934A-8B9F8273BF1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C8AC062-CB26-3C4B-BF5C-71316381CB5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CD3DAC72-BC01-CB4A-AE23-CB5569E9475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FA4527FB-9018-4147-BF44-1B59C6B1E36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B6526FFB-F46B-1B4C-94A0-CB54397F00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D253CFE6-0BF6-8446-AE20-0B9AAB8A803A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7444911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5148263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noFill/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BEE517F5-6182-C74C-8455-9B52A1C544E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E6A9A1-C6C1-5143-8DD5-B994A995B009}"/>
              </a:ext>
            </a:extLst>
          </p:cNvPr>
          <p:cNvCxnSpPr>
            <a:cxnSpLocks/>
            <a:stCxn id="8" idx="3"/>
          </p:cNvCxnSpPr>
          <p:nvPr userDrawn="1"/>
        </p:nvCxnSpPr>
        <p:spPr>
          <a:xfrm>
            <a:off x="3314700" y="6539949"/>
            <a:ext cx="6954715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0071186A-5FF0-A94E-9F89-BFBA43C89A9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716E6067-465F-6747-8484-394781D4F04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67065E1D-639E-1F43-9ECB-F2D10F0177A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AAE25362-6A89-3642-8925-26012FCD4C02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326208A4-87CD-DC44-9284-C29AFAEA9B0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D65B1FCD-BC70-FD46-85F8-F19728A90A1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532B2370-8F37-A746-88C8-471D6FC93113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62944B23-DE6A-484F-A54A-8A0D1BF76A9F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BA919DC1-8419-3B4F-B66F-F857BE329D6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EA6B1726-C399-524A-934A-8B9F8273BF1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C8AC062-CB26-3C4B-BF5C-71316381CB5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CD3DAC72-BC01-CB4A-AE23-CB5569E9475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FA4527FB-9018-4147-BF44-1B59C6B1E36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B6526FFB-F46B-1B4C-94A0-CB54397F00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D253CFE6-0BF6-8446-AE20-0B9AAB8A803A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41806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aphic 35">
            <a:extLst>
              <a:ext uri="{FF2B5EF4-FFF2-40B4-BE49-F238E27FC236}">
                <a16:creationId xmlns:a16="http://schemas.microsoft.com/office/drawing/2014/main" id="{A0C8303F-754F-F64F-A95E-F28A8ACD25F3}"/>
              </a:ext>
            </a:extLst>
          </p:cNvPr>
          <p:cNvGrpSpPr/>
          <p:nvPr/>
        </p:nvGrpSpPr>
        <p:grpSpPr>
          <a:xfrm>
            <a:off x="3066288" y="2960996"/>
            <a:ext cx="6066790" cy="936008"/>
            <a:chOff x="3066288" y="2960996"/>
            <a:chExt cx="6066790" cy="936008"/>
          </a:xfrm>
          <a:solidFill>
            <a:srgbClr val="FFFFFF"/>
          </a:solidFill>
        </p:grpSpPr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0C8303F-754F-F64F-A95E-F28A8ACD25F3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solidFill>
              <a:srgbClr val="FFFFFF"/>
            </a:solidFill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132C44F6-39BD-774A-863E-00A8FA057A8C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F118E90F-65A2-6C48-905B-48969DFE4950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4A794B11-9285-EE43-9DD9-00AB27DADFA7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64C16D40-313D-584F-B15B-26FDC903C92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7307374A-663F-6645-8A9E-07B38E91575D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7860892C-29F9-6B4E-AEF6-2BF2D0C06ABE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87B41319-4978-734A-8043-C5824F0E435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8C350C9E-957C-C640-AE32-83CF4C7B5823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A0A8A9B5-CDE0-3849-9065-9BA25051C7B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73AF24B7-08DA-E043-A376-952B1E9957E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9" name="Graphic 35">
              <a:extLst>
                <a:ext uri="{FF2B5EF4-FFF2-40B4-BE49-F238E27FC236}">
                  <a16:creationId xmlns:a16="http://schemas.microsoft.com/office/drawing/2014/main" id="{A0C8303F-754F-F64F-A95E-F28A8ACD25F3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solidFill>
              <a:srgbClr val="FFFFFF"/>
            </a:solidFill>
          </p:grpSpPr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66B15798-25D9-9C4A-AE8B-9F0398977E5E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73134AB2-94FB-9D43-A787-E9779BDA77C6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68638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2C53B-2B3C-E043-ACBF-96640AE2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E8CEC1-D10A-694D-9D61-1DD32159D9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741306-BA0F-9940-96CD-4F61E169D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AAB995-290C-914D-86F5-806E76AA3C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F082E9-B126-8943-A7B3-340093449F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030B19-D2CC-A140-AC74-E36052A72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0A4921-89AF-A24A-BDA7-EF753661FA59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22492DEC-543F-5E4E-A444-50DB57D8237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3156376-7B32-5347-820E-AC89B8DB3C48}" type="datetime1">
              <a:rPr lang="sv-SE" smtClean="0"/>
              <a:t>2021-08-17</a:t>
            </a:fld>
            <a:endParaRPr lang="sv-SE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AFC71E6-E949-354E-93F5-CC99FC90570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890044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58502-9700-D542-821A-2083E362D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AEE99B-6E1A-E54F-8368-ACB0749BE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E6C0726-EF75-2142-899C-D269C9B2ECF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C8563F85-4E61-9C47-9038-91BBCE930C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D4E2F1E-E22B-C149-B84A-2264BD72A1F9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274DF96-EBB3-9E4A-895F-78CBD2DC73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850974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F9CD62-ED6B-1545-8149-41636A6EA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AFA389D-24D0-4A45-9127-97FD3B1DF6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63C960E4-C2E9-3147-80DA-BF1E2FF3607C}" type="datetime1">
              <a:rPr lang="sv-SE" smtClean="0"/>
              <a:t>2021-08-17</a:t>
            </a:fld>
            <a:endParaRPr lang="sv-S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D8C2E84-C697-274F-B37A-A46FED941C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5710661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FD11E-E91F-5248-8705-F3DDE5014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B3E0D3-04E8-414C-8EA8-9C8FEF1112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342901"/>
            <a:ext cx="6172200" cy="5518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2752E2-C083-5048-9DE4-480DBE68CA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62F2C7-730C-5F40-8AC0-79ED6C64F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ECCAE9-2BB7-C049-A656-E3494F93386A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8587FA4-3226-374C-B6B6-C354E3A9C29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7F17FDD-2E84-EE4D-B2C6-E00BF4CF7953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26E50A8-421A-6041-8149-899D70BF55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8184600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1FA8BC-B6A3-614E-BE21-D590723D879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1"/>
            <a:ext cx="6096000" cy="6210300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3249B3-7FB2-0B4C-86CB-EEE079F96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32A79E-FCBE-F049-BE40-FEFDB5715F51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7D49BC98-9CCA-E84B-89C3-BCB83CF44D5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737AA5B-35A5-6C45-B138-84D01A6D8764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BCB4A82-3A95-D645-935D-8A677D461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2116BF-D726-9847-B983-EA4ED2F1C7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E6532F5-EC62-214D-B274-DD8EB23F8D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88133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850415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2DF4C3-8A7B-DF45-9A62-C0CB239BB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5F4CF5C-6573-4749-9A20-9EFA7A990A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6AEB38-D082-C045-BA0D-EC7F790D2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F76CD50-D4B0-B041-91AB-79EB6B13E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13F8E547-F6BB-C949-9E38-DB9C4F9A07C7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E49E7A-64C9-E04F-A352-6A80C3FD6B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655300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58C16D-664F-FC45-A64F-6B56B78A19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CF9181-DD69-424F-B6CA-9285932384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5328B8-1FB4-CD49-9F22-D4F7A8200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CB64CE7B-20EC-BB43-AA79-1DB9A13609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D69886C4-47C7-3F4A-AABA-D750C1E0359A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26B77F-8D75-2C4B-BCE1-024C2A3C18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869941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047009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996554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aphic 35">
            <a:extLst>
              <a:ext uri="{FF2B5EF4-FFF2-40B4-BE49-F238E27FC236}">
                <a16:creationId xmlns:a16="http://schemas.microsoft.com/office/drawing/2014/main" id="{E5B29532-0639-E04B-89F2-B544D5B8CB58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69" name="Graphic 35">
              <a:extLst>
                <a:ext uri="{FF2B5EF4-FFF2-40B4-BE49-F238E27FC236}">
                  <a16:creationId xmlns:a16="http://schemas.microsoft.com/office/drawing/2014/main" id="{B66167E8-A8E7-514F-8F19-753F9919EA07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73" name="Freeform 72">
                <a:extLst>
                  <a:ext uri="{FF2B5EF4-FFF2-40B4-BE49-F238E27FC236}">
                    <a16:creationId xmlns:a16="http://schemas.microsoft.com/office/drawing/2014/main" id="{94F5019A-C619-AF49-919A-3F1A32628F25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3F5D8652-F1AD-6149-A138-208991E161A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8E9DC377-DD62-5B4C-8F1C-D32B102D3B9F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6" name="Freeform 75">
                <a:extLst>
                  <a:ext uri="{FF2B5EF4-FFF2-40B4-BE49-F238E27FC236}">
                    <a16:creationId xmlns:a16="http://schemas.microsoft.com/office/drawing/2014/main" id="{E6F4F513-9088-0247-B001-C471835E0F38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7" name="Freeform 76">
                <a:extLst>
                  <a:ext uri="{FF2B5EF4-FFF2-40B4-BE49-F238E27FC236}">
                    <a16:creationId xmlns:a16="http://schemas.microsoft.com/office/drawing/2014/main" id="{7B586C99-DC05-9C47-8865-B8449F1EFE52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8" name="Freeform 77">
                <a:extLst>
                  <a:ext uri="{FF2B5EF4-FFF2-40B4-BE49-F238E27FC236}">
                    <a16:creationId xmlns:a16="http://schemas.microsoft.com/office/drawing/2014/main" id="{6620DB92-99A9-4F4A-8D27-3AA265B42F63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9" name="Freeform 78">
                <a:extLst>
                  <a:ext uri="{FF2B5EF4-FFF2-40B4-BE49-F238E27FC236}">
                    <a16:creationId xmlns:a16="http://schemas.microsoft.com/office/drawing/2014/main" id="{BF169676-A83A-2147-8986-348DD9B683BD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0" name="Freeform 79">
                <a:extLst>
                  <a:ext uri="{FF2B5EF4-FFF2-40B4-BE49-F238E27FC236}">
                    <a16:creationId xmlns:a16="http://schemas.microsoft.com/office/drawing/2014/main" id="{C8B5D701-7972-3940-B1D5-6F6F36D47994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5B6E952F-C48C-0244-936C-AC5ADC37E219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2682892A-BFD4-6A4D-9876-B44656B49F5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70" name="Graphic 35">
              <a:extLst>
                <a:ext uri="{FF2B5EF4-FFF2-40B4-BE49-F238E27FC236}">
                  <a16:creationId xmlns:a16="http://schemas.microsoft.com/office/drawing/2014/main" id="{F2813A03-CDAE-FF44-9509-3A98D5854D64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71" name="Freeform 70">
                <a:extLst>
                  <a:ext uri="{FF2B5EF4-FFF2-40B4-BE49-F238E27FC236}">
                    <a16:creationId xmlns:a16="http://schemas.microsoft.com/office/drawing/2014/main" id="{68D4DBEE-EDBE-0746-B871-CB31F9D8F599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2" name="Freeform 71">
                <a:extLst>
                  <a:ext uri="{FF2B5EF4-FFF2-40B4-BE49-F238E27FC236}">
                    <a16:creationId xmlns:a16="http://schemas.microsoft.com/office/drawing/2014/main" id="{587BAFC3-BFF6-FC41-AEAD-9E21531A0461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15878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052775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77335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220505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08570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074822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33332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443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8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808822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9">
    <p:bg>
      <p:bgPr>
        <a:blipFill dpi="0"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13306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0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35964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05041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641659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129237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3036D92-EDB4-F449-9A96-3C30DBDB7645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5148263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noFill/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BEE517F5-6182-C74C-8455-9B52A1C544E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E6A9A1-C6C1-5143-8DD5-B994A995B009}"/>
              </a:ext>
            </a:extLst>
          </p:cNvPr>
          <p:cNvCxnSpPr>
            <a:cxnSpLocks/>
            <a:stCxn id="8" idx="3"/>
          </p:cNvCxnSpPr>
          <p:nvPr userDrawn="1"/>
        </p:nvCxnSpPr>
        <p:spPr>
          <a:xfrm>
            <a:off x="3314700" y="6539949"/>
            <a:ext cx="6954715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0071186A-5FF0-A94E-9F89-BFBA43C89A9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716E6067-465F-6747-8484-394781D4F04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67065E1D-639E-1F43-9ECB-F2D10F0177A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AAE25362-6A89-3642-8925-26012FCD4C02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326208A4-87CD-DC44-9284-C29AFAEA9B0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D65B1FCD-BC70-FD46-85F8-F19728A90A1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532B2370-8F37-A746-88C8-471D6FC93113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62944B23-DE6A-484F-A54A-8A0D1BF76A9F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BA919DC1-8419-3B4F-B66F-F857BE329D6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EA6B1726-C399-524A-934A-8B9F8273BF1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C8AC062-CB26-3C4B-BF5C-71316381CB5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CD3DAC72-BC01-CB4A-AE23-CB5569E9475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FA4527FB-9018-4147-BF44-1B59C6B1E36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B6526FFB-F46B-1B4C-94A0-CB54397F00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D253CFE6-0BF6-8446-AE20-0B9AAB8A803A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69837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5148263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noFill/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BEE517F5-6182-C74C-8455-9B52A1C544E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2E6A9A1-C6C1-5143-8DD5-B994A995B009}"/>
              </a:ext>
            </a:extLst>
          </p:cNvPr>
          <p:cNvCxnSpPr>
            <a:cxnSpLocks/>
            <a:stCxn id="8" idx="3"/>
          </p:cNvCxnSpPr>
          <p:nvPr userDrawn="1"/>
        </p:nvCxnSpPr>
        <p:spPr>
          <a:xfrm>
            <a:off x="3314700" y="6539949"/>
            <a:ext cx="6954715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0071186A-5FF0-A94E-9F89-BFBA43C89A9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716E6067-465F-6747-8484-394781D4F04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67065E1D-639E-1F43-9ECB-F2D10F0177A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AAE25362-6A89-3642-8925-26012FCD4C02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326208A4-87CD-DC44-9284-C29AFAEA9B0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D65B1FCD-BC70-FD46-85F8-F19728A90A1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532B2370-8F37-A746-88C8-471D6FC93113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62944B23-DE6A-484F-A54A-8A0D1BF76A9F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BA919DC1-8419-3B4F-B66F-F857BE329D6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EA6B1726-C399-524A-934A-8B9F8273BF1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AC8AC062-CB26-3C4B-BF5C-71316381CB5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CD3DAC72-BC01-CB4A-AE23-CB5569E9475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FA4527FB-9018-4147-BF44-1B59C6B1E36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B6526FFB-F46B-1B4C-94A0-CB54397F00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D253CFE6-0BF6-8446-AE20-0B9AAB8A803A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495267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aphic 35">
            <a:extLst>
              <a:ext uri="{FF2B5EF4-FFF2-40B4-BE49-F238E27FC236}">
                <a16:creationId xmlns:a16="http://schemas.microsoft.com/office/drawing/2014/main" id="{A0C8303F-754F-F64F-A95E-F28A8ACD25F3}"/>
              </a:ext>
            </a:extLst>
          </p:cNvPr>
          <p:cNvGrpSpPr/>
          <p:nvPr/>
        </p:nvGrpSpPr>
        <p:grpSpPr>
          <a:xfrm>
            <a:off x="3066288" y="2960996"/>
            <a:ext cx="6066790" cy="936008"/>
            <a:chOff x="3066288" y="2960996"/>
            <a:chExt cx="6066790" cy="936008"/>
          </a:xfrm>
          <a:solidFill>
            <a:srgbClr val="FFFFFF"/>
          </a:solidFill>
        </p:grpSpPr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0C8303F-754F-F64F-A95E-F28A8ACD25F3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solidFill>
              <a:srgbClr val="FFFFFF"/>
            </a:solidFill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132C44F6-39BD-774A-863E-00A8FA057A8C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F118E90F-65A2-6C48-905B-48969DFE4950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4A794B11-9285-EE43-9DD9-00AB27DADFA7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64C16D40-313D-584F-B15B-26FDC903C92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7307374A-663F-6645-8A9E-07B38E91575D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7860892C-29F9-6B4E-AEF6-2BF2D0C06ABE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87B41319-4978-734A-8043-C5824F0E435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8C350C9E-957C-C640-AE32-83CF4C7B5823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A0A8A9B5-CDE0-3849-9065-9BA25051C7B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73AF24B7-08DA-E043-A376-952B1E9957E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9" name="Graphic 35">
              <a:extLst>
                <a:ext uri="{FF2B5EF4-FFF2-40B4-BE49-F238E27FC236}">
                  <a16:creationId xmlns:a16="http://schemas.microsoft.com/office/drawing/2014/main" id="{A0C8303F-754F-F64F-A95E-F28A8ACD25F3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solidFill>
              <a:srgbClr val="FFFFFF"/>
            </a:solidFill>
          </p:grpSpPr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66B15798-25D9-9C4A-AE8B-9F0398977E5E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73134AB2-94FB-9D43-A787-E9779BDA77C6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solidFill>
                <a:schemeClr val="tx1"/>
              </a:solidFill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789000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5594738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2783840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rgbClr val="222E3A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rgbClr val="222E3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rgbClr val="222E3A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rgbClr val="222E3A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aphic 35">
            <a:extLst>
              <a:ext uri="{FF2B5EF4-FFF2-40B4-BE49-F238E27FC236}">
                <a16:creationId xmlns:a16="http://schemas.microsoft.com/office/drawing/2014/main" id="{4685A7FB-3D40-5342-930A-365BCCD33BE7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9" name="Graphic 35">
              <a:extLst>
                <a:ext uri="{FF2B5EF4-FFF2-40B4-BE49-F238E27FC236}">
                  <a16:creationId xmlns:a16="http://schemas.microsoft.com/office/drawing/2014/main" id="{EB7BC60E-27AF-A049-BD23-4F8C2EB5574E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1316DD5A-1BBA-6447-ABFC-7F66E6EA9CF5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6CCA888-896A-CD4C-998B-1EB940503430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214BA5C-CA1C-E54E-AE9C-9A7D22E1A2E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877A47AC-D1EB-DA44-A340-16291AD35BAF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3C2BE7D-B433-A547-B8B2-A98959CF58D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51160C-66C3-474D-8459-1FC11E42319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6649A6AA-29FE-454E-ACF9-A808923CFCE4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2327E638-E976-F944-8A67-2307AA45121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45F678DA-3B80-B34F-8A6D-DC2998CDA934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D0C78F57-9BBE-A843-A3CC-286A763BD83E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FD0C1F64-6CF5-624A-B7E6-1B774EC82E1B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F4DC62E5-87F5-294C-B9E4-C98160B6C76F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188DD3F5-8EBC-664A-82C5-CBEA36321CD8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151829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DAF3B6-C613-3F47-A52D-28125B15C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3B4B79B-D8CB-E54D-BF14-50221E075E0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5708723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57DD505B-D4FC-8B46-A5A2-95AB140845E0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A44464-093E-9B41-9249-8AAB6929B0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7" y="1816100"/>
            <a:ext cx="10512425" cy="43815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64099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6502400" y="0"/>
            <a:ext cx="56896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301103-3200-FC41-BFEB-1AC1666546E1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5365750" cy="132556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39788" y="1816100"/>
            <a:ext cx="5364162" cy="43815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63EA64-BF79-AE48-8436-A01533041BA1}"/>
              </a:ext>
            </a:extLst>
          </p:cNvPr>
          <p:cNvSpPr/>
          <p:nvPr userDrawn="1"/>
        </p:nvSpPr>
        <p:spPr>
          <a:xfrm>
            <a:off x="6473046" y="552695"/>
            <a:ext cx="87056" cy="62523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41067" y="745067"/>
            <a:ext cx="4511145" cy="5452533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1" name="Graphic 35">
            <a:extLst>
              <a:ext uri="{FF2B5EF4-FFF2-40B4-BE49-F238E27FC236}">
                <a16:creationId xmlns:a16="http://schemas.microsoft.com/office/drawing/2014/main" id="{CE7B0AEF-E0F7-D642-B4D1-B9FEF44AD34D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2" name="Graphic 35">
              <a:extLst>
                <a:ext uri="{FF2B5EF4-FFF2-40B4-BE49-F238E27FC236}">
                  <a16:creationId xmlns:a16="http://schemas.microsoft.com/office/drawing/2014/main" id="{ABFA4A02-DC56-AA44-956D-14662CF5C0CF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F3A90B1-5A8E-0341-B849-86B9BC77A38B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C812CB27-D2A0-5345-832B-D52AF8255967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3D721597-AEF5-8149-B97A-8B2ADFBAC545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44097E8F-33E7-4848-BC0F-280D4A59B6B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2086F457-8263-E74B-A1D8-24D340186B3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DED9934A-CA52-7047-923C-68185AFFF2B1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0D0A4F92-8C24-D045-B8AC-64F66DF7EA2A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35513DBD-A20D-EF47-91DA-654BA66F5D0C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0EB2C3A9-93BB-AD41-8605-6470C10012EB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A8041C5-135F-504C-9D38-E736687E386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3" name="Graphic 35">
              <a:extLst>
                <a:ext uri="{FF2B5EF4-FFF2-40B4-BE49-F238E27FC236}">
                  <a16:creationId xmlns:a16="http://schemas.microsoft.com/office/drawing/2014/main" id="{CBCC38B1-C4C6-2D45-B011-524D2C70E614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E080DBBC-85D2-F848-A256-42AC34E727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4028C2B5-957D-CA4B-8DB9-24D58B8D8F8F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7190948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22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4939621" cy="132556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80313" y="344557"/>
            <a:ext cx="4871900" cy="585304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9" y="1828800"/>
            <a:ext cx="4938159" cy="43688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532283A-F886-5643-8120-687F88165D48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5256212" cy="0"/>
          </a:xfrm>
          <a:prstGeom prst="line">
            <a:avLst/>
          </a:prstGeom>
          <a:ln w="317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pPr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793115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3036D92-EDB4-F449-9A96-3C30DBDB7645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10010775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6D5DCFF-68AD-3642-A0E1-285DB65C8F47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76496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7A01F2-73D9-1D47-94B4-44A5361911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27AD90-5BA6-DF46-A9CF-D0D4B10F5E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C581A82-E793-D447-B5B8-868C4EAC8719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074214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2C53B-2B3C-E043-ACBF-96640AE2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E8CEC1-D10A-694D-9D61-1DD32159D9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741306-BA0F-9940-96CD-4F61E169D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AAB995-290C-914D-86F5-806E76AA3C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F082E9-B126-8943-A7B3-340093449F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030B19-D2CC-A140-AC74-E36052A72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0A4921-89AF-A24A-BDA7-EF753661FA59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22492DEC-543F-5E4E-A444-50DB57D8237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3156376-7B32-5347-820E-AC89B8DB3C48}" type="datetime1">
              <a:rPr lang="sv-SE" smtClean="0"/>
              <a:t>2021-08-17</a:t>
            </a:fld>
            <a:endParaRPr lang="sv-SE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AFC71E6-E949-354E-93F5-CC99FC90570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5725691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58502-9700-D542-821A-2083E362D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AEE99B-6E1A-E54F-8368-ACB0749BE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E6C0726-EF75-2142-899C-D269C9B2ECF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C8563F85-4E61-9C47-9038-91BBCE930C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D4E2F1E-E22B-C149-B84A-2264BD72A1F9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274DF96-EBB3-9E4A-895F-78CBD2DC73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1060943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F9CD62-ED6B-1545-8149-41636A6EA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AFA389D-24D0-4A45-9127-97FD3B1DF6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63C960E4-C2E9-3147-80DA-BF1E2FF3607C}" type="datetime1">
              <a:rPr lang="sv-SE" smtClean="0"/>
              <a:t>2021-08-17</a:t>
            </a:fld>
            <a:endParaRPr lang="sv-S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D8C2E84-C697-274F-B37A-A46FED941C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6195662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226551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FD11E-E91F-5248-8705-F3DDE5014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B3E0D3-04E8-414C-8EA8-9C8FEF1112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342901"/>
            <a:ext cx="6172200" cy="5518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2752E2-C083-5048-9DE4-480DBE68CA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62F2C7-730C-5F40-8AC0-79ED6C64F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ECCAE9-2BB7-C049-A656-E3494F93386A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8587FA4-3226-374C-B6B6-C354E3A9C29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7F17FDD-2E84-EE4D-B2C6-E00BF4CF7953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26E50A8-421A-6041-8149-899D70BF55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567180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1FA8BC-B6A3-614E-BE21-D590723D879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1"/>
            <a:ext cx="6096000" cy="6210300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3249B3-7FB2-0B4C-86CB-EEE079F96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32A79E-FCBE-F049-BE40-FEFDB5715F51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7D49BC98-9CCA-E84B-89C3-BCB83CF44D5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737AA5B-35A5-6C45-B138-84D01A6D8764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BCB4A82-3A95-D645-935D-8A677D461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2116BF-D726-9847-B983-EA4ED2F1C7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E6532F5-EC62-214D-B274-DD8EB23F8D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266472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2DF4C3-8A7B-DF45-9A62-C0CB239BB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5F4CF5C-6573-4749-9A20-9EFA7A990A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6AEB38-D082-C045-BA0D-EC7F790D2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F76CD50-D4B0-B041-91AB-79EB6B13E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13F8E547-F6BB-C949-9E38-DB9C4F9A07C7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E49E7A-64C9-E04F-A352-6A80C3FD6B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1313600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58C16D-664F-FC45-A64F-6B56B78A19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CF9181-DD69-424F-B6CA-9285932384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5328B8-1FB4-CD49-9F22-D4F7A8200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CB64CE7B-20EC-BB43-AA79-1DB9A13609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D69886C4-47C7-3F4A-AABA-D750C1E0359A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26B77F-8D75-2C4B-BCE1-024C2A3C18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999549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869281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3642916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2783840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rgbClr val="222E3A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rgbClr val="222E3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rgbClr val="222E3A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rgbClr val="222E3A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aphic 35">
            <a:extLst>
              <a:ext uri="{FF2B5EF4-FFF2-40B4-BE49-F238E27FC236}">
                <a16:creationId xmlns:a16="http://schemas.microsoft.com/office/drawing/2014/main" id="{4685A7FB-3D40-5342-930A-365BCCD33BE7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9" name="Graphic 35">
              <a:extLst>
                <a:ext uri="{FF2B5EF4-FFF2-40B4-BE49-F238E27FC236}">
                  <a16:creationId xmlns:a16="http://schemas.microsoft.com/office/drawing/2014/main" id="{EB7BC60E-27AF-A049-BD23-4F8C2EB5574E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1316DD5A-1BBA-6447-ABFC-7F66E6EA9CF5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6CCA888-896A-CD4C-998B-1EB940503430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214BA5C-CA1C-E54E-AE9C-9A7D22E1A2E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877A47AC-D1EB-DA44-A340-16291AD35BAF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3C2BE7D-B433-A547-B8B2-A98959CF58D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51160C-66C3-474D-8459-1FC11E42319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6649A6AA-29FE-454E-ACF9-A808923CFCE4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2327E638-E976-F944-8A67-2307AA45121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45F678DA-3B80-B34F-8A6D-DC2998CDA934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D0C78F57-9BBE-A843-A3CC-286A763BD83E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FD0C1F64-6CF5-624A-B7E6-1B774EC82E1B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F4DC62E5-87F5-294C-B9E4-C98160B6C76F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188DD3F5-8EBC-664A-82C5-CBEA36321CD8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521656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DAF3B6-C613-3F47-A52D-28125B15C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3B4B79B-D8CB-E54D-BF14-50221E075E0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7840279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57DD505B-D4FC-8B46-A5A2-95AB140845E0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A44464-093E-9B41-9249-8AAB6929B0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7" y="1816100"/>
            <a:ext cx="10512425" cy="43815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2241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6502400" y="0"/>
            <a:ext cx="56896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301103-3200-FC41-BFEB-1AC1666546E1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5365750" cy="132556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39788" y="1816100"/>
            <a:ext cx="5364162" cy="43815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63EA64-BF79-AE48-8436-A01533041BA1}"/>
              </a:ext>
            </a:extLst>
          </p:cNvPr>
          <p:cNvSpPr/>
          <p:nvPr userDrawn="1"/>
        </p:nvSpPr>
        <p:spPr>
          <a:xfrm>
            <a:off x="6473046" y="552695"/>
            <a:ext cx="87056" cy="62523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41067" y="745067"/>
            <a:ext cx="4511145" cy="5452533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1" name="Graphic 35">
            <a:extLst>
              <a:ext uri="{FF2B5EF4-FFF2-40B4-BE49-F238E27FC236}">
                <a16:creationId xmlns:a16="http://schemas.microsoft.com/office/drawing/2014/main" id="{CE7B0AEF-E0F7-D642-B4D1-B9FEF44AD34D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2" name="Graphic 35">
              <a:extLst>
                <a:ext uri="{FF2B5EF4-FFF2-40B4-BE49-F238E27FC236}">
                  <a16:creationId xmlns:a16="http://schemas.microsoft.com/office/drawing/2014/main" id="{ABFA4A02-DC56-AA44-956D-14662CF5C0CF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F3A90B1-5A8E-0341-B849-86B9BC77A38B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C812CB27-D2A0-5345-832B-D52AF8255967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3D721597-AEF5-8149-B97A-8B2ADFBAC545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44097E8F-33E7-4848-BC0F-280D4A59B6B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2086F457-8263-E74B-A1D8-24D340186B3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DED9934A-CA52-7047-923C-68185AFFF2B1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0D0A4F92-8C24-D045-B8AC-64F66DF7EA2A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35513DBD-A20D-EF47-91DA-654BA66F5D0C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0EB2C3A9-93BB-AD41-8605-6470C10012EB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A8041C5-135F-504C-9D38-E736687E386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3" name="Graphic 35">
              <a:extLst>
                <a:ext uri="{FF2B5EF4-FFF2-40B4-BE49-F238E27FC236}">
                  <a16:creationId xmlns:a16="http://schemas.microsoft.com/office/drawing/2014/main" id="{CBCC38B1-C4C6-2D45-B011-524D2C70E614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E080DBBC-85D2-F848-A256-42AC34E727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4028C2B5-957D-CA4B-8DB9-24D58B8D8F8F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2857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5236280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22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4939621" cy="132556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80313" y="344557"/>
            <a:ext cx="4871900" cy="585304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9" y="1828800"/>
            <a:ext cx="4938159" cy="43688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532283A-F886-5643-8120-687F88165D48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5256212" cy="0"/>
          </a:xfrm>
          <a:prstGeom prst="line">
            <a:avLst/>
          </a:prstGeom>
          <a:ln w="317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pPr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1298961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3036D92-EDB4-F449-9A96-3C30DBDB7645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10010775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6D5DCFF-68AD-3642-A0E1-285DB65C8F47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8979185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7A01F2-73D9-1D47-94B4-44A5361911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27AD90-5BA6-DF46-A9CF-D0D4B10F5E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C581A82-E793-D447-B5B8-868C4EAC8719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4198756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2C53B-2B3C-E043-ACBF-96640AE2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E8CEC1-D10A-694D-9D61-1DD32159D9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741306-BA0F-9940-96CD-4F61E169D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AAB995-290C-914D-86F5-806E76AA3C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F082E9-B126-8943-A7B3-340093449F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030B19-D2CC-A140-AC74-E36052A72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0A4921-89AF-A24A-BDA7-EF753661FA59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22492DEC-543F-5E4E-A444-50DB57D8237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3156376-7B32-5347-820E-AC89B8DB3C48}" type="datetime1">
              <a:rPr lang="sv-SE" smtClean="0"/>
              <a:t>2021-08-17</a:t>
            </a:fld>
            <a:endParaRPr lang="sv-SE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AFC71E6-E949-354E-93F5-CC99FC90570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7205766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58502-9700-D542-821A-2083E362D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AEE99B-6E1A-E54F-8368-ACB0749BE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E6C0726-EF75-2142-899C-D269C9B2ECF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C8563F85-4E61-9C47-9038-91BBCE930C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D4E2F1E-E22B-C149-B84A-2264BD72A1F9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274DF96-EBB3-9E4A-895F-78CBD2DC73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42252454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F9CD62-ED6B-1545-8149-41636A6EA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AFA389D-24D0-4A45-9127-97FD3B1DF6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63C960E4-C2E9-3147-80DA-BF1E2FF3607C}" type="datetime1">
              <a:rPr lang="sv-SE" smtClean="0"/>
              <a:t>2021-08-17</a:t>
            </a:fld>
            <a:endParaRPr lang="sv-S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D8C2E84-C697-274F-B37A-A46FED941C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72238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FD11E-E91F-5248-8705-F3DDE5014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B3E0D3-04E8-414C-8EA8-9C8FEF1112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342901"/>
            <a:ext cx="6172200" cy="5518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2752E2-C083-5048-9DE4-480DBE68CA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62F2C7-730C-5F40-8AC0-79ED6C64F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ECCAE9-2BB7-C049-A656-E3494F93386A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8587FA4-3226-374C-B6B6-C354E3A9C29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7F17FDD-2E84-EE4D-B2C6-E00BF4CF7953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26E50A8-421A-6041-8149-899D70BF55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38959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1FA8BC-B6A3-614E-BE21-D590723D879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1"/>
            <a:ext cx="6096000" cy="6210300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3249B3-7FB2-0B4C-86CB-EEE079F96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32A79E-FCBE-F049-BE40-FEFDB5715F51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7D49BC98-9CCA-E84B-89C3-BCB83CF44D5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737AA5B-35A5-6C45-B138-84D01A6D8764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BCB4A82-3A95-D645-935D-8A677D461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2116BF-D726-9847-B983-EA4ED2F1C7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E6532F5-EC62-214D-B274-DD8EB23F8D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480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2DF4C3-8A7B-DF45-9A62-C0CB239BB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5F4CF5C-6573-4749-9A20-9EFA7A990A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6AEB38-D082-C045-BA0D-EC7F790D2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F76CD50-D4B0-B041-91AB-79EB6B13E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13F8E547-F6BB-C949-9E38-DB9C4F9A07C7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E49E7A-64C9-E04F-A352-6A80C3FD6B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66288831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58C16D-664F-FC45-A64F-6B56B78A19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CF9181-DD69-424F-B6CA-9285932384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5328B8-1FB4-CD49-9F22-D4F7A8200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CB64CE7B-20EC-BB43-AA79-1DB9A13609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D69886C4-47C7-3F4A-AABA-D750C1E0359A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26B77F-8D75-2C4B-BCE1-024C2A3C18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022211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7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1955853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7622265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3356943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2783840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rgbClr val="222E3A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rgbClr val="222E3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rgbClr val="222E3A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rgbClr val="222E3A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aphic 35">
            <a:extLst>
              <a:ext uri="{FF2B5EF4-FFF2-40B4-BE49-F238E27FC236}">
                <a16:creationId xmlns:a16="http://schemas.microsoft.com/office/drawing/2014/main" id="{4685A7FB-3D40-5342-930A-365BCCD33BE7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9" name="Graphic 35">
              <a:extLst>
                <a:ext uri="{FF2B5EF4-FFF2-40B4-BE49-F238E27FC236}">
                  <a16:creationId xmlns:a16="http://schemas.microsoft.com/office/drawing/2014/main" id="{EB7BC60E-27AF-A049-BD23-4F8C2EB5574E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1316DD5A-1BBA-6447-ABFC-7F66E6EA9CF5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6CCA888-896A-CD4C-998B-1EB940503430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214BA5C-CA1C-E54E-AE9C-9A7D22E1A2E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877A47AC-D1EB-DA44-A340-16291AD35BAF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3C2BE7D-B433-A547-B8B2-A98959CF58D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51160C-66C3-474D-8459-1FC11E42319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6649A6AA-29FE-454E-ACF9-A808923CFCE4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2327E638-E976-F944-8A67-2307AA45121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45F678DA-3B80-B34F-8A6D-DC2998CDA934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D0C78F57-9BBE-A843-A3CC-286A763BD83E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FD0C1F64-6CF5-624A-B7E6-1B774EC82E1B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F4DC62E5-87F5-294C-B9E4-C98160B6C76F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188DD3F5-8EBC-664A-82C5-CBEA36321CD8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935591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DAF3B6-C613-3F47-A52D-28125B15C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3B4B79B-D8CB-E54D-BF14-50221E075E0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0242044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57DD505B-D4FC-8B46-A5A2-95AB140845E0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A44464-093E-9B41-9249-8AAB6929B06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7" y="1816100"/>
            <a:ext cx="10512425" cy="43815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0467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6502400" y="0"/>
            <a:ext cx="56896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C301103-3200-FC41-BFEB-1AC1666546E1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5365750" cy="132556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839788" y="1816100"/>
            <a:ext cx="5364162" cy="43815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63EA64-BF79-AE48-8436-A01533041BA1}"/>
              </a:ext>
            </a:extLst>
          </p:cNvPr>
          <p:cNvSpPr/>
          <p:nvPr userDrawn="1"/>
        </p:nvSpPr>
        <p:spPr>
          <a:xfrm>
            <a:off x="6473046" y="552695"/>
            <a:ext cx="87056" cy="62523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41067" y="745067"/>
            <a:ext cx="4511145" cy="5452533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1" name="Graphic 35">
            <a:extLst>
              <a:ext uri="{FF2B5EF4-FFF2-40B4-BE49-F238E27FC236}">
                <a16:creationId xmlns:a16="http://schemas.microsoft.com/office/drawing/2014/main" id="{CE7B0AEF-E0F7-D642-B4D1-B9FEF44AD34D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2" name="Graphic 35">
              <a:extLst>
                <a:ext uri="{FF2B5EF4-FFF2-40B4-BE49-F238E27FC236}">
                  <a16:creationId xmlns:a16="http://schemas.microsoft.com/office/drawing/2014/main" id="{ABFA4A02-DC56-AA44-956D-14662CF5C0CF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F3A90B1-5A8E-0341-B849-86B9BC77A38B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C812CB27-D2A0-5345-832B-D52AF8255967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3D721597-AEF5-8149-B97A-8B2ADFBAC545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44097E8F-33E7-4848-BC0F-280D4A59B6BC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2086F457-8263-E74B-A1D8-24D340186B3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DED9934A-CA52-7047-923C-68185AFFF2B1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0D0A4F92-8C24-D045-B8AC-64F66DF7EA2A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35513DBD-A20D-EF47-91DA-654BA66F5D0C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0EB2C3A9-93BB-AD41-8605-6470C10012EB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A8041C5-135F-504C-9D38-E736687E3869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3" name="Graphic 35">
              <a:extLst>
                <a:ext uri="{FF2B5EF4-FFF2-40B4-BE49-F238E27FC236}">
                  <a16:creationId xmlns:a16="http://schemas.microsoft.com/office/drawing/2014/main" id="{CBCC38B1-C4C6-2D45-B011-524D2C70E614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E080DBBC-85D2-F848-A256-42AC34E7270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4028C2B5-957D-CA4B-8DB9-24D58B8D8F8F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3220034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395CF5E-658C-5441-B2E5-B27E27464EC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22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4939621" cy="1325563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2662C47A-1B72-0C4A-98E2-44329ABF4AC1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480313" y="344557"/>
            <a:ext cx="4871900" cy="585304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endParaRPr lang="sv-SE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4C83C85-58EF-1A4F-A05A-B49E7F29210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9" y="1828800"/>
            <a:ext cx="4938159" cy="43688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532283A-F886-5643-8120-687F88165D48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5256212" cy="0"/>
          </a:xfrm>
          <a:prstGeom prst="line">
            <a:avLst/>
          </a:prstGeom>
          <a:ln w="317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fld id="{22706B3A-DF5E-2D48-9556-082700486040}" type="datetime1">
              <a:rPr lang="sv-SE" smtClean="0"/>
              <a:pPr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rgbClr val="222E3A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bg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919154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3036D92-EDB4-F449-9A96-3C30DBDB7645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0CDB0E-258B-844E-9632-0B590DA89F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7" y="1709738"/>
            <a:ext cx="10010775" cy="2025683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5C2850-F7A1-664D-8506-A0A9998D3E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7" y="3803515"/>
            <a:ext cx="10010775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1936D6-9304-0648-A1AF-9A602EB34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FD80171-5310-2046-B0C9-C455CD8DF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6D5DCFF-68AD-3642-A0E1-285DB65C8F47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7530C54-CCE8-974E-9BE0-5E26FA19E8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50553262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AD695E-7A4D-CA42-B1AF-C782FBB8A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7A01F2-73D9-1D47-94B4-44A5361911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27AD90-5BA6-DF46-A9CF-D0D4B10F5E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21DEC6E-145E-B140-9FD8-1C8E22F5E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D78307-A952-164A-8D76-335ED55FC8D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3C61C2D-85F9-F34D-A7C1-3FF30E781502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C581A82-E793-D447-B5B8-868C4EAC8719}" type="datetime1">
              <a:rPr lang="sv-SE" smtClean="0"/>
              <a:t>2021-08-17</a:t>
            </a:fld>
            <a:endParaRPr lang="sv-SE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DEA64E90-D3F5-0846-97AF-86209AC6F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83987607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2C53B-2B3C-E043-ACBF-96640AE26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E8CEC1-D10A-694D-9D61-1DD32159D9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741306-BA0F-9940-96CD-4F61E169DD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AAB995-290C-914D-86F5-806E76AA3C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F082E9-B126-8943-A7B3-340093449F9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030B19-D2CC-A140-AC74-E36052A72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20A4921-89AF-A24A-BDA7-EF753661FA59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22492DEC-543F-5E4E-A444-50DB57D8237C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3156376-7B32-5347-820E-AC89B8DB3C48}" type="datetime1">
              <a:rPr lang="sv-SE" smtClean="0"/>
              <a:t>2021-08-17</a:t>
            </a:fld>
            <a:endParaRPr lang="sv-SE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AAFC71E6-E949-354E-93F5-CC99FC90570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8759323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8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1602116" y="3759096"/>
            <a:ext cx="5328594" cy="115054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23219" y="4134678"/>
            <a:ext cx="9021763" cy="111303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0968253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158502-9700-D542-821A-2083E362D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AEE99B-6E1A-E54F-8368-ACB0749BE3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E6C0726-EF75-2142-899C-D269C9B2ECFF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C8563F85-4E61-9C47-9038-91BBCE930C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D4E2F1E-E22B-C149-B84A-2264BD72A1F9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274DF96-EBB3-9E4A-895F-78CBD2DC73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930463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F9CD62-ED6B-1545-8149-41636A6EA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8AFA389D-24D0-4A45-9127-97FD3B1DF6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63C960E4-C2E9-3147-80DA-BF1E2FF3607C}" type="datetime1">
              <a:rPr lang="sv-SE" smtClean="0"/>
              <a:t>2021-08-17</a:t>
            </a:fld>
            <a:endParaRPr lang="sv-SE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D8C2E84-C697-274F-B37A-A46FED941C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6391541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3FD11E-E91F-5248-8705-F3DDE5014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B3E0D3-04E8-414C-8EA8-9C8FEF1112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342901"/>
            <a:ext cx="6172200" cy="55181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2752E2-C083-5048-9DE4-480DBE68CA5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62F2C7-730C-5F40-8AC0-79ED6C64F9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ECCAE9-2BB7-C049-A656-E3494F93386A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18587FA4-3226-374C-B6B6-C354E3A9C29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27F17FDD-2E84-EE4D-B2C6-E00BF4CF7953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26E50A8-421A-6041-8149-899D70BF55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84231000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01FA8BC-B6A3-614E-BE21-D590723D879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096000" y="1"/>
            <a:ext cx="6096000" cy="6210300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3249B3-7FB2-0B4C-86CB-EEE079F96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32A79E-FCBE-F049-BE40-FEFDB5715F51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7D49BC98-9CCA-E84B-89C3-BCB83CF44D5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4737AA5B-35A5-6C45-B138-84D01A6D8764}" type="datetime1">
              <a:rPr lang="sv-SE" smtClean="0"/>
              <a:t>2021-08-17</a:t>
            </a:fld>
            <a:endParaRPr lang="sv-SE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BCB4A82-3A95-D645-935D-8A677D461C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32116BF-D726-9847-B983-EA4ED2F1C7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00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E6532F5-EC62-214D-B274-DD8EB23F8D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613610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2DF4C3-8A7B-DF45-9A62-C0CB239BB3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5F4CF5C-6573-4749-9A20-9EFA7A990A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6AEB38-D082-C045-BA0D-EC7F790D2E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AF76CD50-D4B0-B041-91AB-79EB6B13EF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13F8E547-F6BB-C949-9E38-DB9C4F9A07C7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66E49E7A-64C9-E04F-A352-6A80C3FD6B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3592567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58C16D-664F-FC45-A64F-6B56B78A198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6CF9181-DD69-424F-B6CA-9285932384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5328B8-1FB4-CD49-9F22-D4F7A8200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CB64CE7B-20EC-BB43-AA79-1DB9A13609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D69886C4-47C7-3F4A-AABA-D750C1E0359A}" type="datetime1">
              <a:rPr lang="sv-SE" smtClean="0"/>
              <a:t>2021-08-17</a:t>
            </a:fld>
            <a:endParaRPr lang="sv-SE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026B77F-8D75-2C4B-BCE1-024C2A3C18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8785436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1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760809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aphic 35">
            <a:extLst>
              <a:ext uri="{FF2B5EF4-FFF2-40B4-BE49-F238E27FC236}">
                <a16:creationId xmlns:a16="http://schemas.microsoft.com/office/drawing/2014/main" id="{A8582F35-27C8-7B42-904B-0D0868D9DED0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28" name="Graphic 35">
              <a:extLst>
                <a:ext uri="{FF2B5EF4-FFF2-40B4-BE49-F238E27FC236}">
                  <a16:creationId xmlns:a16="http://schemas.microsoft.com/office/drawing/2014/main" id="{B3B4068E-97EE-6740-A996-51A4CED5CBC5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E97FF871-71CA-C249-876B-9FE71111D9C3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E13188AF-075F-154F-9A2B-FD260869E8EC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04690643-D37F-4B42-A655-6D40309B765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EAB1247B-2788-724C-B19C-86718E0F693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204B7D2-BA6D-6448-AE1B-A7E9FE4BEE5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910AB300-0973-E44B-829F-55136F9016A7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A685A366-CDD3-6D4A-B5AF-7E8E6118431B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8A14C74-8593-9947-A00A-D0B417C6992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C9E9C89-B73C-5440-BF13-FA8F7B55D52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3F12105D-685D-0A4F-98F6-8237D019D067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29" name="Graphic 35">
              <a:extLst>
                <a:ext uri="{FF2B5EF4-FFF2-40B4-BE49-F238E27FC236}">
                  <a16:creationId xmlns:a16="http://schemas.microsoft.com/office/drawing/2014/main" id="{7F0EDB00-6795-5E49-BEE8-22D453FD1A9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FB5F31C3-2498-384D-AF62-77B8B941BA1B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A306C2-02DE-9E42-B8EE-40BBB978876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7880949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5119" y="1616973"/>
            <a:ext cx="9021763" cy="202568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grpSp>
        <p:nvGrpSpPr>
          <p:cNvPr id="36" name="Graphic 35">
            <a:extLst>
              <a:ext uri="{FF2B5EF4-FFF2-40B4-BE49-F238E27FC236}">
                <a16:creationId xmlns:a16="http://schemas.microsoft.com/office/drawing/2014/main" id="{0A8F76FE-A479-A348-80DB-D853B8AF1226}"/>
              </a:ext>
            </a:extLst>
          </p:cNvPr>
          <p:cNvGrpSpPr/>
          <p:nvPr userDrawn="1"/>
        </p:nvGrpSpPr>
        <p:grpSpPr>
          <a:xfrm>
            <a:off x="8138728" y="6062763"/>
            <a:ext cx="3718309" cy="573675"/>
            <a:chOff x="3066288" y="2960996"/>
            <a:chExt cx="6066790" cy="936008"/>
          </a:xfrm>
          <a:solidFill>
            <a:schemeClr val="bg1"/>
          </a:solidFill>
        </p:grpSpPr>
        <p:grpSp>
          <p:nvGrpSpPr>
            <p:cNvPr id="37" name="Graphic 35">
              <a:extLst>
                <a:ext uri="{FF2B5EF4-FFF2-40B4-BE49-F238E27FC236}">
                  <a16:creationId xmlns:a16="http://schemas.microsoft.com/office/drawing/2014/main" id="{DC9347FC-878C-A34F-99CE-80F38614539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A58BCC-7AF3-5E4E-B324-7AE85809BA9A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2BDD93CD-D54C-4847-AB99-99DB3BFBE591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EA7AD749-A8C2-AC4C-B947-7588DACD00D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8BD0686E-355E-6345-9609-C17289F0F200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9E3F4F2-FE68-1B41-B65A-07B73DAB6FC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D0E6A489-0C96-B84A-87ED-3D949EA74F26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B340858-962E-684B-9A59-092E68AD3C81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3D82D609-B2F5-A441-B815-5327C53CDFDE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AF639BF6-0A57-0144-8761-D976912EC7DA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FDD16B99-B30A-9C4F-BE93-B9CC750EB46F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38" name="Graphic 35">
              <a:extLst>
                <a:ext uri="{FF2B5EF4-FFF2-40B4-BE49-F238E27FC236}">
                  <a16:creationId xmlns:a16="http://schemas.microsoft.com/office/drawing/2014/main" id="{A2737AA8-43FB-D645-A34D-C88DC5C6833D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7C202B3C-5C9C-3749-9A19-2ECE7A148240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B5F428B-7A60-B441-9DAF-5EE4CA98CAFE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1312137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33E8595-5149-DE44-964A-64EA5A4D3B28}"/>
              </a:ext>
            </a:extLst>
          </p:cNvPr>
          <p:cNvSpPr/>
          <p:nvPr userDrawn="1"/>
        </p:nvSpPr>
        <p:spPr>
          <a:xfrm>
            <a:off x="0" y="0"/>
            <a:ext cx="2783840" cy="6858000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7AE23-70C1-944A-A4E3-852E08FE9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356349"/>
            <a:ext cx="334212" cy="367200"/>
          </a:xfrm>
        </p:spPr>
        <p:txBody>
          <a:bodyPr/>
          <a:lstStyle>
            <a:lvl1pPr>
              <a:defRPr sz="800">
                <a:solidFill>
                  <a:srgbClr val="222E3A"/>
                </a:solidFill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A3EC7C5-6428-1F4E-8BE9-0EB8FDF53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709738"/>
            <a:ext cx="10515600" cy="2025683"/>
          </a:xfrm>
        </p:spPr>
        <p:txBody>
          <a:bodyPr anchor="b"/>
          <a:lstStyle>
            <a:lvl1pPr>
              <a:defRPr sz="6000">
                <a:solidFill>
                  <a:srgbClr val="222E3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4210E7-7D76-E843-888C-83D6F49A22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3803515"/>
            <a:ext cx="10515600" cy="1391190"/>
          </a:xfrm>
        </p:spPr>
        <p:txBody>
          <a:bodyPr/>
          <a:lstStyle>
            <a:lvl1pPr marL="0" indent="0">
              <a:buNone/>
              <a:defRPr sz="2400">
                <a:solidFill>
                  <a:srgbClr val="222E3A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97C64B0-65A5-6049-ABF4-4D7DC08A270D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rgbClr val="222E3A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Graphic 35">
            <a:extLst>
              <a:ext uri="{FF2B5EF4-FFF2-40B4-BE49-F238E27FC236}">
                <a16:creationId xmlns:a16="http://schemas.microsoft.com/office/drawing/2014/main" id="{4685A7FB-3D40-5342-930A-365BCCD33BE7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39" name="Graphic 35">
              <a:extLst>
                <a:ext uri="{FF2B5EF4-FFF2-40B4-BE49-F238E27FC236}">
                  <a16:creationId xmlns:a16="http://schemas.microsoft.com/office/drawing/2014/main" id="{EB7BC60E-27AF-A049-BD23-4F8C2EB5574E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1316DD5A-1BBA-6447-ABFC-7F66E6EA9CF5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6CCA888-896A-CD4C-998B-1EB940503430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7214BA5C-CA1C-E54E-AE9C-9A7D22E1A2E6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877A47AC-D1EB-DA44-A340-16291AD35BAF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43C2BE7D-B433-A547-B8B2-A98959CF58DE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51160C-66C3-474D-8459-1FC11E42319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6649A6AA-29FE-454E-ACF9-A808923CFCE4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2327E638-E976-F944-8A67-2307AA451215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45F678DA-3B80-B34F-8A6D-DC2998CDA934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D0C78F57-9BBE-A843-A3CC-286A763BD83E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FD0C1F64-6CF5-624A-B7E6-1B774EC82E1B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F4DC62E5-87F5-294C-B9E4-C98160B6C76F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188DD3F5-8EBC-664A-82C5-CBEA36321CD8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3395728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628B6-072F-F54A-B5D8-20734537B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0000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DAF3B6-C613-3F47-A52D-28125B15C6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25307B-B35D-9F43-9256-CC92863BBD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/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60A0A60-5089-B148-AEAC-4900817FBF83}"/>
              </a:ext>
            </a:extLst>
          </p:cNvPr>
          <p:cNvSpPr/>
          <p:nvPr userDrawn="1"/>
        </p:nvSpPr>
        <p:spPr>
          <a:xfrm>
            <a:off x="1" y="360000"/>
            <a:ext cx="168812" cy="2138289"/>
          </a:xfrm>
          <a:prstGeom prst="rect">
            <a:avLst/>
          </a:prstGeom>
          <a:solidFill>
            <a:srgbClr val="30AA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A4234DE-8264-1344-87EC-F57F0F462A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93B4B79B-D8CB-E54D-BF14-50221E075E05}" type="datetime1">
              <a:rPr lang="sv-SE" smtClean="0"/>
              <a:t>2021-08-17</a:t>
            </a:fld>
            <a:endParaRPr lang="sv-SE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2B6596F-2C3B-6845-9AED-97E4B26A60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04384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slideLayout" Target="../slideLayouts/slideLayout161.xml"/><Relationship Id="rId18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51.xml"/><Relationship Id="rId21" Type="http://schemas.openxmlformats.org/officeDocument/2006/relationships/tags" Target="../tags/tag22.xml"/><Relationship Id="rId7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0.xml"/><Relationship Id="rId17" Type="http://schemas.openxmlformats.org/officeDocument/2006/relationships/slideLayout" Target="../slideLayouts/slideLayout165.xml"/><Relationship Id="rId2" Type="http://schemas.openxmlformats.org/officeDocument/2006/relationships/slideLayout" Target="../slideLayouts/slideLayout150.xml"/><Relationship Id="rId16" Type="http://schemas.openxmlformats.org/officeDocument/2006/relationships/slideLayout" Target="../slideLayouts/slideLayout164.xml"/><Relationship Id="rId20" Type="http://schemas.openxmlformats.org/officeDocument/2006/relationships/vmlDrawing" Target="../drawings/vmlDrawing9.v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24" Type="http://schemas.openxmlformats.org/officeDocument/2006/relationships/image" Target="../media/image11.emf"/><Relationship Id="rId5" Type="http://schemas.openxmlformats.org/officeDocument/2006/relationships/slideLayout" Target="../slideLayouts/slideLayout153.xml"/><Relationship Id="rId15" Type="http://schemas.openxmlformats.org/officeDocument/2006/relationships/slideLayout" Target="../slideLayouts/slideLayout163.xml"/><Relationship Id="rId23" Type="http://schemas.openxmlformats.org/officeDocument/2006/relationships/oleObject" Target="../embeddings/oleObject6.bin"/><Relationship Id="rId10" Type="http://schemas.openxmlformats.org/officeDocument/2006/relationships/slideLayout" Target="../slideLayouts/slideLayout158.xml"/><Relationship Id="rId19" Type="http://schemas.openxmlformats.org/officeDocument/2006/relationships/theme" Target="../theme/theme10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Relationship Id="rId14" Type="http://schemas.openxmlformats.org/officeDocument/2006/relationships/slideLayout" Target="../slideLayouts/slideLayout162.xml"/><Relationship Id="rId22" Type="http://schemas.openxmlformats.org/officeDocument/2006/relationships/tags" Target="../tags/tag2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theme" Target="../theme/theme11.xml"/><Relationship Id="rId3" Type="http://schemas.openxmlformats.org/officeDocument/2006/relationships/slideLayout" Target="../slideLayouts/slideLayout169.xml"/><Relationship Id="rId21" Type="http://schemas.openxmlformats.org/officeDocument/2006/relationships/tags" Target="../tags/tag25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20" Type="http://schemas.openxmlformats.org/officeDocument/2006/relationships/tags" Target="../tags/tag24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23" Type="http://schemas.openxmlformats.org/officeDocument/2006/relationships/image" Target="../media/image9.emf"/><Relationship Id="rId10" Type="http://schemas.openxmlformats.org/officeDocument/2006/relationships/slideLayout" Target="../slideLayouts/slideLayout176.xml"/><Relationship Id="rId19" Type="http://schemas.openxmlformats.org/officeDocument/2006/relationships/vmlDrawing" Target="../drawings/vmlDrawing10.v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Relationship Id="rId22" Type="http://schemas.openxmlformats.org/officeDocument/2006/relationships/oleObject" Target="../embeddings/oleObject7.bin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1.xml"/><Relationship Id="rId13" Type="http://schemas.openxmlformats.org/officeDocument/2006/relationships/slideLayout" Target="../slideLayouts/slideLayout196.xml"/><Relationship Id="rId18" Type="http://schemas.openxmlformats.org/officeDocument/2006/relationships/slideLayout" Target="../slideLayouts/slideLayout201.xml"/><Relationship Id="rId3" Type="http://schemas.openxmlformats.org/officeDocument/2006/relationships/slideLayout" Target="../slideLayouts/slideLayout186.xml"/><Relationship Id="rId21" Type="http://schemas.openxmlformats.org/officeDocument/2006/relationships/vmlDrawing" Target="../drawings/vmlDrawing11.vml"/><Relationship Id="rId7" Type="http://schemas.openxmlformats.org/officeDocument/2006/relationships/slideLayout" Target="../slideLayouts/slideLayout190.xml"/><Relationship Id="rId12" Type="http://schemas.openxmlformats.org/officeDocument/2006/relationships/slideLayout" Target="../slideLayouts/slideLayout195.xml"/><Relationship Id="rId17" Type="http://schemas.openxmlformats.org/officeDocument/2006/relationships/slideLayout" Target="../slideLayouts/slideLayout200.xml"/><Relationship Id="rId25" Type="http://schemas.openxmlformats.org/officeDocument/2006/relationships/image" Target="../media/image9.emf"/><Relationship Id="rId2" Type="http://schemas.openxmlformats.org/officeDocument/2006/relationships/slideLayout" Target="../slideLayouts/slideLayout185.xml"/><Relationship Id="rId16" Type="http://schemas.openxmlformats.org/officeDocument/2006/relationships/slideLayout" Target="../slideLayouts/slideLayout199.xml"/><Relationship Id="rId20" Type="http://schemas.openxmlformats.org/officeDocument/2006/relationships/theme" Target="../theme/theme12.xml"/><Relationship Id="rId1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9.xml"/><Relationship Id="rId11" Type="http://schemas.openxmlformats.org/officeDocument/2006/relationships/slideLayout" Target="../slideLayouts/slideLayout194.xml"/><Relationship Id="rId24" Type="http://schemas.openxmlformats.org/officeDocument/2006/relationships/oleObject" Target="../embeddings/oleObject8.bin"/><Relationship Id="rId5" Type="http://schemas.openxmlformats.org/officeDocument/2006/relationships/slideLayout" Target="../slideLayouts/slideLayout188.xml"/><Relationship Id="rId15" Type="http://schemas.openxmlformats.org/officeDocument/2006/relationships/slideLayout" Target="../slideLayouts/slideLayout198.xml"/><Relationship Id="rId23" Type="http://schemas.openxmlformats.org/officeDocument/2006/relationships/tags" Target="../tags/tag27.xml"/><Relationship Id="rId10" Type="http://schemas.openxmlformats.org/officeDocument/2006/relationships/slideLayout" Target="../slideLayouts/slideLayout193.xml"/><Relationship Id="rId19" Type="http://schemas.openxmlformats.org/officeDocument/2006/relationships/slideLayout" Target="../slideLayouts/slideLayout202.xml"/><Relationship Id="rId4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92.xml"/><Relationship Id="rId14" Type="http://schemas.openxmlformats.org/officeDocument/2006/relationships/slideLayout" Target="../slideLayouts/slideLayout197.xml"/><Relationship Id="rId22" Type="http://schemas.openxmlformats.org/officeDocument/2006/relationships/tags" Target="../tags/tag2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13" Type="http://schemas.openxmlformats.org/officeDocument/2006/relationships/slideLayout" Target="../slideLayouts/slideLayout215.xml"/><Relationship Id="rId18" Type="http://schemas.openxmlformats.org/officeDocument/2006/relationships/tags" Target="../tags/tag28.xml"/><Relationship Id="rId3" Type="http://schemas.openxmlformats.org/officeDocument/2006/relationships/slideLayout" Target="../slideLayouts/slideLayout205.xml"/><Relationship Id="rId21" Type="http://schemas.openxmlformats.org/officeDocument/2006/relationships/image" Target="../media/image9.emf"/><Relationship Id="rId7" Type="http://schemas.openxmlformats.org/officeDocument/2006/relationships/slideLayout" Target="../slideLayouts/slideLayout209.xml"/><Relationship Id="rId12" Type="http://schemas.openxmlformats.org/officeDocument/2006/relationships/slideLayout" Target="../slideLayouts/slideLayout214.xml"/><Relationship Id="rId17" Type="http://schemas.openxmlformats.org/officeDocument/2006/relationships/vmlDrawing" Target="../drawings/vmlDrawing12.vml"/><Relationship Id="rId2" Type="http://schemas.openxmlformats.org/officeDocument/2006/relationships/slideLayout" Target="../slideLayouts/slideLayout204.xml"/><Relationship Id="rId16" Type="http://schemas.openxmlformats.org/officeDocument/2006/relationships/theme" Target="../theme/theme13.xml"/><Relationship Id="rId20" Type="http://schemas.openxmlformats.org/officeDocument/2006/relationships/oleObject" Target="../embeddings/oleObject9.bin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207.xml"/><Relationship Id="rId15" Type="http://schemas.openxmlformats.org/officeDocument/2006/relationships/slideLayout" Target="../slideLayouts/slideLayout217.xml"/><Relationship Id="rId10" Type="http://schemas.openxmlformats.org/officeDocument/2006/relationships/slideLayout" Target="../slideLayouts/slideLayout212.xml"/><Relationship Id="rId19" Type="http://schemas.openxmlformats.org/officeDocument/2006/relationships/tags" Target="../tags/tag29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Relationship Id="rId14" Type="http://schemas.openxmlformats.org/officeDocument/2006/relationships/slideLayout" Target="../slideLayouts/slideLayout21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slideLayout" Target="../slideLayouts/slideLayout230.xml"/><Relationship Id="rId18" Type="http://schemas.openxmlformats.org/officeDocument/2006/relationships/tags" Target="../tags/tag30.xml"/><Relationship Id="rId3" Type="http://schemas.openxmlformats.org/officeDocument/2006/relationships/slideLayout" Target="../slideLayouts/slideLayout220.xml"/><Relationship Id="rId21" Type="http://schemas.openxmlformats.org/officeDocument/2006/relationships/image" Target="../media/image11.emf"/><Relationship Id="rId7" Type="http://schemas.openxmlformats.org/officeDocument/2006/relationships/slideLayout" Target="../slideLayouts/slideLayout224.xml"/><Relationship Id="rId12" Type="http://schemas.openxmlformats.org/officeDocument/2006/relationships/slideLayout" Target="../slideLayouts/slideLayout229.xml"/><Relationship Id="rId17" Type="http://schemas.openxmlformats.org/officeDocument/2006/relationships/vmlDrawing" Target="../drawings/vmlDrawing13.vml"/><Relationship Id="rId2" Type="http://schemas.openxmlformats.org/officeDocument/2006/relationships/slideLayout" Target="../slideLayouts/slideLayout219.xml"/><Relationship Id="rId16" Type="http://schemas.openxmlformats.org/officeDocument/2006/relationships/theme" Target="../theme/theme14.xml"/><Relationship Id="rId20" Type="http://schemas.openxmlformats.org/officeDocument/2006/relationships/oleObject" Target="../embeddings/oleObject10.bin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28.xml"/><Relationship Id="rId5" Type="http://schemas.openxmlformats.org/officeDocument/2006/relationships/slideLayout" Target="../slideLayouts/slideLayout222.xml"/><Relationship Id="rId15" Type="http://schemas.openxmlformats.org/officeDocument/2006/relationships/slideLayout" Target="../slideLayouts/slideLayout232.xml"/><Relationship Id="rId10" Type="http://schemas.openxmlformats.org/officeDocument/2006/relationships/slideLayout" Target="../slideLayouts/slideLayout227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slideLayout" Target="../slideLayouts/slideLayout231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slideLayout" Target="../slideLayouts/slideLayout245.xml"/><Relationship Id="rId18" Type="http://schemas.openxmlformats.org/officeDocument/2006/relationships/theme" Target="../theme/theme15.xml"/><Relationship Id="rId3" Type="http://schemas.openxmlformats.org/officeDocument/2006/relationships/slideLayout" Target="../slideLayouts/slideLayout235.xml"/><Relationship Id="rId21" Type="http://schemas.openxmlformats.org/officeDocument/2006/relationships/tags" Target="../tags/tag33.xml"/><Relationship Id="rId7" Type="http://schemas.openxmlformats.org/officeDocument/2006/relationships/slideLayout" Target="../slideLayouts/slideLayout239.xml"/><Relationship Id="rId12" Type="http://schemas.openxmlformats.org/officeDocument/2006/relationships/slideLayout" Target="../slideLayouts/slideLayout244.xml"/><Relationship Id="rId17" Type="http://schemas.openxmlformats.org/officeDocument/2006/relationships/slideLayout" Target="../slideLayouts/slideLayout249.xml"/><Relationship Id="rId2" Type="http://schemas.openxmlformats.org/officeDocument/2006/relationships/slideLayout" Target="../slideLayouts/slideLayout234.xml"/><Relationship Id="rId16" Type="http://schemas.openxmlformats.org/officeDocument/2006/relationships/slideLayout" Target="../slideLayouts/slideLayout248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5" Type="http://schemas.openxmlformats.org/officeDocument/2006/relationships/slideLayout" Target="../slideLayouts/slideLayout247.xml"/><Relationship Id="rId23" Type="http://schemas.openxmlformats.org/officeDocument/2006/relationships/image" Target="../media/image9.emf"/><Relationship Id="rId10" Type="http://schemas.openxmlformats.org/officeDocument/2006/relationships/slideLayout" Target="../slideLayouts/slideLayout242.xml"/><Relationship Id="rId19" Type="http://schemas.openxmlformats.org/officeDocument/2006/relationships/vmlDrawing" Target="../drawings/vmlDrawing14.v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slideLayout" Target="../slideLayouts/slideLayout246.xml"/><Relationship Id="rId22" Type="http://schemas.openxmlformats.org/officeDocument/2006/relationships/oleObject" Target="../embeddings/oleObject1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5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image" Target="../media/image9.emf"/><Relationship Id="rId10" Type="http://schemas.openxmlformats.org/officeDocument/2006/relationships/slideLayout" Target="../slideLayouts/slideLayout42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18" Type="http://schemas.openxmlformats.org/officeDocument/2006/relationships/vmlDrawing" Target="../drawings/vmlDrawing2.vml"/><Relationship Id="rId3" Type="http://schemas.openxmlformats.org/officeDocument/2006/relationships/slideLayout" Target="../slideLayouts/slideLayout52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image" Target="../media/image9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18" Type="http://schemas.openxmlformats.org/officeDocument/2006/relationships/vmlDrawing" Target="../drawings/vmlDrawing3.vml"/><Relationship Id="rId3" Type="http://schemas.openxmlformats.org/officeDocument/2006/relationships/slideLayout" Target="../slideLayouts/slideLayout68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75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image" Target="../media/image9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vmlDrawing" Target="../drawings/vmlDrawing4.vml"/><Relationship Id="rId3" Type="http://schemas.openxmlformats.org/officeDocument/2006/relationships/slideLayout" Target="../slideLayouts/slideLayout84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91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image" Target="../media/image9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18" Type="http://schemas.openxmlformats.org/officeDocument/2006/relationships/vmlDrawing" Target="../drawings/vmlDrawing5.vml"/><Relationship Id="rId3" Type="http://schemas.openxmlformats.org/officeDocument/2006/relationships/slideLayout" Target="../slideLayouts/slideLayout100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tags" Target="../tags/tag10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07.xml"/><Relationship Id="rId19" Type="http://schemas.openxmlformats.org/officeDocument/2006/relationships/tags" Target="../tags/tag9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image" Target="../media/image9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18" Type="http://schemas.openxmlformats.org/officeDocument/2006/relationships/theme" Target="../theme/theme8.xml"/><Relationship Id="rId3" Type="http://schemas.openxmlformats.org/officeDocument/2006/relationships/slideLayout" Target="../slideLayouts/slideLayout116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0" Type="http://schemas.openxmlformats.org/officeDocument/2006/relationships/tags" Target="../tags/tag11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5" Type="http://schemas.openxmlformats.org/officeDocument/2006/relationships/slideLayout" Target="../slideLayouts/slideLayout128.xml"/><Relationship Id="rId23" Type="http://schemas.openxmlformats.org/officeDocument/2006/relationships/image" Target="../media/image9.emf"/><Relationship Id="rId10" Type="http://schemas.openxmlformats.org/officeDocument/2006/relationships/slideLayout" Target="../slideLayouts/slideLayout123.xml"/><Relationship Id="rId19" Type="http://schemas.openxmlformats.org/officeDocument/2006/relationships/vmlDrawing" Target="../drawings/vmlDrawing6.v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Relationship Id="rId22" Type="http://schemas.openxmlformats.org/officeDocument/2006/relationships/oleObject" Target="../embeddings/oleObject3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18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33.xml"/><Relationship Id="rId21" Type="http://schemas.openxmlformats.org/officeDocument/2006/relationships/tags" Target="../tags/tag20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17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32.xml"/><Relationship Id="rId16" Type="http://schemas.openxmlformats.org/officeDocument/2006/relationships/slideLayout" Target="../slideLayouts/slideLayout146.xml"/><Relationship Id="rId20" Type="http://schemas.openxmlformats.org/officeDocument/2006/relationships/vmlDrawing" Target="../drawings/vmlDrawing8.v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24" Type="http://schemas.openxmlformats.org/officeDocument/2006/relationships/image" Target="../media/image9.emf"/><Relationship Id="rId5" Type="http://schemas.openxmlformats.org/officeDocument/2006/relationships/slideLayout" Target="../slideLayouts/slideLayout135.xml"/><Relationship Id="rId15" Type="http://schemas.openxmlformats.org/officeDocument/2006/relationships/slideLayout" Target="../slideLayouts/slideLayout145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140.xml"/><Relationship Id="rId19" Type="http://schemas.openxmlformats.org/officeDocument/2006/relationships/theme" Target="../theme/theme9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Relationship Id="rId22" Type="http://schemas.openxmlformats.org/officeDocument/2006/relationships/tags" Target="../tags/tag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BD1FCB-8014-7B46-9A4D-017FB784E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CBCFC-7A2D-DA4F-9214-47E4181872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B2121-B29A-C944-A324-3FAF2A2E5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3" y="6356349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90ABA4-7763-F142-B528-A8FFCF75098B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39B99-096F-1046-94E2-6AA81AC53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B25B7FE-1732-8844-A88C-6400B08A9C89}" type="datetime1">
              <a:rPr lang="sv-SE" smtClean="0"/>
              <a:t>2021-08-1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93B4E5-5DD2-DF40-A787-271B2039F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grpSp>
        <p:nvGrpSpPr>
          <p:cNvPr id="71" name="Graphic 35">
            <a:extLst>
              <a:ext uri="{FF2B5EF4-FFF2-40B4-BE49-F238E27FC236}">
                <a16:creationId xmlns:a16="http://schemas.microsoft.com/office/drawing/2014/main" id="{BC668247-6FC9-F241-BE66-E7C825D6EC6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72" name="Graphic 35">
              <a:extLst>
                <a:ext uri="{FF2B5EF4-FFF2-40B4-BE49-F238E27FC236}">
                  <a16:creationId xmlns:a16="http://schemas.microsoft.com/office/drawing/2014/main" id="{6557080B-DFCD-194C-A16A-05460979CD44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76" name="Freeform 75">
                <a:extLst>
                  <a:ext uri="{FF2B5EF4-FFF2-40B4-BE49-F238E27FC236}">
                    <a16:creationId xmlns:a16="http://schemas.microsoft.com/office/drawing/2014/main" id="{F5BEA918-FA17-354C-A99E-F7ECF2A0C01C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7" name="Freeform 76">
                <a:extLst>
                  <a:ext uri="{FF2B5EF4-FFF2-40B4-BE49-F238E27FC236}">
                    <a16:creationId xmlns:a16="http://schemas.microsoft.com/office/drawing/2014/main" id="{F7702F89-47D2-2642-92AC-4434ACC54DC4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8" name="Freeform 77">
                <a:extLst>
                  <a:ext uri="{FF2B5EF4-FFF2-40B4-BE49-F238E27FC236}">
                    <a16:creationId xmlns:a16="http://schemas.microsoft.com/office/drawing/2014/main" id="{A79BB8E5-8226-AA49-8579-181EDAC7160E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9" name="Freeform 78">
                <a:extLst>
                  <a:ext uri="{FF2B5EF4-FFF2-40B4-BE49-F238E27FC236}">
                    <a16:creationId xmlns:a16="http://schemas.microsoft.com/office/drawing/2014/main" id="{7E6C7FE4-A079-3943-ABEC-F1674A92041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0" name="Freeform 79">
                <a:extLst>
                  <a:ext uri="{FF2B5EF4-FFF2-40B4-BE49-F238E27FC236}">
                    <a16:creationId xmlns:a16="http://schemas.microsoft.com/office/drawing/2014/main" id="{760DB7B3-96B0-E044-A8A5-C2F296EC9B04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E6EC96EE-6299-3441-8735-ED8ED6ABD323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E70779E8-777F-8544-991A-0F2A009F1A74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CE80CC0D-0A66-134B-BF15-ECAAF54AED67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75E05906-62E0-F245-9A6B-AB72022E2C8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C3E9347E-8875-C843-8C2B-7B770FE6F2CC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73" name="Graphic 35">
              <a:extLst>
                <a:ext uri="{FF2B5EF4-FFF2-40B4-BE49-F238E27FC236}">
                  <a16:creationId xmlns:a16="http://schemas.microsoft.com/office/drawing/2014/main" id="{6DE75B0B-5793-384D-A24C-C9ED501E3559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A9CA5135-D618-CF40-A778-7DD14578EF68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A7BF2A65-7BDB-B34B-B4DA-D0E7888AE81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78532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75" r:id="rId2"/>
    <p:sldLayoutId id="2147483697" r:id="rId3"/>
    <p:sldLayoutId id="2147483682" r:id="rId4"/>
    <p:sldLayoutId id="2147483698" r:id="rId5"/>
    <p:sldLayoutId id="2147483696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678" r:id="rId15"/>
    <p:sldLayoutId id="2147483709" r:id="rId16"/>
    <p:sldLayoutId id="2147483694" r:id="rId1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spc="-50" baseline="0">
          <a:solidFill>
            <a:schemeClr val="tx1"/>
          </a:solidFill>
          <a:latin typeface="News Gothic MT" panose="020B0503020103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pos="211">
          <p15:clr>
            <a:srgbClr val="9FCC3B"/>
          </p15:clr>
        </p15:guide>
        <p15:guide id="4" pos="7469">
          <p15:clr>
            <a:srgbClr val="9FCC3B"/>
          </p15:clr>
        </p15:guide>
        <p15:guide id="5" pos="3840">
          <p15:clr>
            <a:srgbClr val="A4A3A4"/>
          </p15:clr>
        </p15:guide>
        <p15:guide id="6" pos="3908">
          <p15:clr>
            <a:srgbClr val="9FCC3B"/>
          </p15:clr>
        </p15:guide>
        <p15:guide id="7" pos="3772">
          <p15:clr>
            <a:srgbClr val="9FCC3B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2F70475-B8D6-4DA0-8B98-E1E9587F97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765835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4" name="think-cell Slide" r:id="rId23" imgW="592" imgH="595" progId="TCLayout.ActiveDocument.1">
                  <p:embed/>
                </p:oleObj>
              </mc:Choice>
              <mc:Fallback>
                <p:oleObj name="think-cell Slide" r:id="rId23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2F70475-B8D6-4DA0-8B98-E1E9587F97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4CDAB0E-D21D-4F11-88F7-2609290FF7B5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22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News Gothic MT" panose="020B0504020203020204" pitchFamily="34" charset="0"/>
              <a:ea typeface="+mj-ea"/>
              <a:cs typeface="+mj-cs"/>
              <a:sym typeface="News Gothic MT" panose="020B0504020203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BD1FCB-8014-7B46-9A4D-017FB784E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CBCFC-7A2D-DA4F-9214-47E4181872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B2121-B29A-C944-A324-3FAF2A2E5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3" y="6356349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90ABA4-7763-F142-B528-A8FFCF75098B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39B99-096F-1046-94E2-6AA81AC53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B25B7FE-1732-8844-A88C-6400B08A9C89}" type="datetime1">
              <a:rPr lang="sv-SE" smtClean="0"/>
              <a:t>2021-08-1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93B4E5-5DD2-DF40-A787-271B2039F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grpSp>
        <p:nvGrpSpPr>
          <p:cNvPr id="71" name="Graphic 35">
            <a:extLst>
              <a:ext uri="{FF2B5EF4-FFF2-40B4-BE49-F238E27FC236}">
                <a16:creationId xmlns:a16="http://schemas.microsoft.com/office/drawing/2014/main" id="{BC668247-6FC9-F241-BE66-E7C825D6EC6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72" name="Graphic 35">
              <a:extLst>
                <a:ext uri="{FF2B5EF4-FFF2-40B4-BE49-F238E27FC236}">
                  <a16:creationId xmlns:a16="http://schemas.microsoft.com/office/drawing/2014/main" id="{6557080B-DFCD-194C-A16A-05460979CD44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76" name="Freeform 75">
                <a:extLst>
                  <a:ext uri="{FF2B5EF4-FFF2-40B4-BE49-F238E27FC236}">
                    <a16:creationId xmlns:a16="http://schemas.microsoft.com/office/drawing/2014/main" id="{F5BEA918-FA17-354C-A99E-F7ECF2A0C01C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7" name="Freeform 76">
                <a:extLst>
                  <a:ext uri="{FF2B5EF4-FFF2-40B4-BE49-F238E27FC236}">
                    <a16:creationId xmlns:a16="http://schemas.microsoft.com/office/drawing/2014/main" id="{F7702F89-47D2-2642-92AC-4434ACC54DC4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8" name="Freeform 77">
                <a:extLst>
                  <a:ext uri="{FF2B5EF4-FFF2-40B4-BE49-F238E27FC236}">
                    <a16:creationId xmlns:a16="http://schemas.microsoft.com/office/drawing/2014/main" id="{A79BB8E5-8226-AA49-8579-181EDAC7160E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9" name="Freeform 78">
                <a:extLst>
                  <a:ext uri="{FF2B5EF4-FFF2-40B4-BE49-F238E27FC236}">
                    <a16:creationId xmlns:a16="http://schemas.microsoft.com/office/drawing/2014/main" id="{7E6C7FE4-A079-3943-ABEC-F1674A92041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0" name="Freeform 79">
                <a:extLst>
                  <a:ext uri="{FF2B5EF4-FFF2-40B4-BE49-F238E27FC236}">
                    <a16:creationId xmlns:a16="http://schemas.microsoft.com/office/drawing/2014/main" id="{760DB7B3-96B0-E044-A8A5-C2F296EC9B04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E6EC96EE-6299-3441-8735-ED8ED6ABD323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E70779E8-777F-8544-991A-0F2A009F1A74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CE80CC0D-0A66-134B-BF15-ECAAF54AED67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75E05906-62E0-F245-9A6B-AB72022E2C8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C3E9347E-8875-C843-8C2B-7B770FE6F2CC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73" name="Graphic 35">
              <a:extLst>
                <a:ext uri="{FF2B5EF4-FFF2-40B4-BE49-F238E27FC236}">
                  <a16:creationId xmlns:a16="http://schemas.microsoft.com/office/drawing/2014/main" id="{6DE75B0B-5793-384D-A24C-C9ED501E3559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A9CA5135-D618-CF40-A778-7DD14578EF68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A7BF2A65-7BDB-B34B-B4DA-D0E7888AE81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16649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  <p:sldLayoutId id="2147483870" r:id="rId14"/>
    <p:sldLayoutId id="2147483871" r:id="rId15"/>
    <p:sldLayoutId id="2147483872" r:id="rId16"/>
    <p:sldLayoutId id="2147483873" r:id="rId17"/>
    <p:sldLayoutId id="2147483874" r:id="rId1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spc="-50" baseline="0">
          <a:solidFill>
            <a:schemeClr val="tx1"/>
          </a:solidFill>
          <a:latin typeface="News Gothic MT" panose="020B0503020103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pos="211">
          <p15:clr>
            <a:srgbClr val="9FCC3B"/>
          </p15:clr>
        </p15:guide>
        <p15:guide id="4" pos="7469">
          <p15:clr>
            <a:srgbClr val="9FCC3B"/>
          </p15:clr>
        </p15:guide>
        <p15:guide id="5" pos="3840">
          <p15:clr>
            <a:srgbClr val="A4A3A4"/>
          </p15:clr>
        </p15:guide>
        <p15:guide id="6" pos="3908">
          <p15:clr>
            <a:srgbClr val="9FCC3B"/>
          </p15:clr>
        </p15:guide>
        <p15:guide id="7" pos="3772">
          <p15:clr>
            <a:srgbClr val="9FCC3B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F9401F-B608-43EE-A6E3-4072D7353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235956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8"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F9401F-B608-43EE-A6E3-4072D7353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F651D68-F83B-44FA-B57D-222532CB8477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News Gothic MT" panose="020B0504020203020204" pitchFamily="34" charset="0"/>
              <a:ea typeface="+mj-ea"/>
              <a:cs typeface="+mj-cs"/>
              <a:sym typeface="News Gothic MT" panose="020B0504020203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BD1FCB-8014-7B46-9A4D-017FB784E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CBCFC-7A2D-DA4F-9214-47E4181872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B2121-B29A-C944-A324-3FAF2A2E5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3" y="6356349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90ABA4-7763-F142-B528-A8FFCF75098B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39B99-096F-1046-94E2-6AA81AC53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6BB5993-452B-924D-AF78-668DF37FD0A8}" type="datetime1">
              <a:rPr lang="sv-SE" smtClean="0"/>
              <a:t>2021-08-1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93B4E5-5DD2-DF40-A787-271B2039F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grpSp>
        <p:nvGrpSpPr>
          <p:cNvPr id="39" name="Graphic 35">
            <a:extLst>
              <a:ext uri="{FF2B5EF4-FFF2-40B4-BE49-F238E27FC236}">
                <a16:creationId xmlns:a16="http://schemas.microsoft.com/office/drawing/2014/main" id="{B8A017B5-3320-F044-8850-524EDD462BF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896C2883-F8FD-0D4F-A489-C66C201470A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97EEB28-4975-8644-B783-E00A696FE6C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821261FE-A5F6-804B-9D8D-4C537C5BEF2A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C9D20264-3B0C-4249-99BF-5EF66623CBDA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796D0E5F-864E-2449-AB2B-A8D4105D3684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C22C75-FB43-DC4B-8ADE-0ECF9D58BB3F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0162E580-6F51-A04A-9CDA-F0E1A176258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AB08C688-64CF-1D4C-98D6-D6EDCB08B2C5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85834B60-4DCD-EA43-8CED-3CE4E10025A1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CF8D14C8-79B0-914B-BAF3-4A23DFF022D2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80E3FA27-A738-2741-A31B-4D414D7A92BD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1" name="Graphic 35">
              <a:extLst>
                <a:ext uri="{FF2B5EF4-FFF2-40B4-BE49-F238E27FC236}">
                  <a16:creationId xmlns:a16="http://schemas.microsoft.com/office/drawing/2014/main" id="{78486626-A071-F142-9DD2-C20A821E1D8C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D94484E4-591E-D642-8568-F6A54E064E97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03B91C1A-1E44-7245-B2B3-DA87D76CC0B5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46463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  <p:sldLayoutId id="2147483892" r:id="rId16"/>
    <p:sldLayoutId id="2147483913" r:id="rId1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spc="-50" baseline="0">
          <a:solidFill>
            <a:schemeClr val="tx1"/>
          </a:solidFill>
          <a:latin typeface="News Gothic MT" panose="020B0503020103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pos="211">
          <p15:clr>
            <a:srgbClr val="9FCC3B"/>
          </p15:clr>
        </p15:guide>
        <p15:guide id="4" pos="7469">
          <p15:clr>
            <a:srgbClr val="9FCC3B"/>
          </p15:clr>
        </p15:guide>
        <p15:guide id="5" pos="3840">
          <p15:clr>
            <a:srgbClr val="A4A3A4"/>
          </p15:clr>
        </p15:guide>
        <p15:guide id="6" pos="3908">
          <p15:clr>
            <a:srgbClr val="9FCC3B"/>
          </p15:clr>
        </p15:guide>
        <p15:guide id="7" pos="3772">
          <p15:clr>
            <a:srgbClr val="9FCC3B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905B0B1-8E08-47FF-A5FA-C80F450193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401284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905B0B1-8E08-47FF-A5FA-C80F45019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DB3EAAF-99A9-4AE7-93F5-61F073CB0C0C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22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News Gothic MT" panose="020B0504020203020204" pitchFamily="34" charset="0"/>
              <a:ea typeface="+mj-ea"/>
              <a:cs typeface="+mj-cs"/>
              <a:sym typeface="News Gothic MT" panose="020B0504020203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BD1FCB-8014-7B46-9A4D-017FB784E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CBCFC-7A2D-DA4F-9214-47E4181872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B2121-B29A-C944-A324-3FAF2A2E5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3" y="6356349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90ABA4-7763-F142-B528-A8FFCF75098B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39B99-096F-1046-94E2-6AA81AC53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B25B7FE-1732-8844-A88C-6400B08A9C89}" type="datetime1">
              <a:rPr lang="sv-SE" smtClean="0"/>
              <a:t>2021-08-1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93B4E5-5DD2-DF40-A787-271B2039F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grpSp>
        <p:nvGrpSpPr>
          <p:cNvPr id="71" name="Graphic 35">
            <a:extLst>
              <a:ext uri="{FF2B5EF4-FFF2-40B4-BE49-F238E27FC236}">
                <a16:creationId xmlns:a16="http://schemas.microsoft.com/office/drawing/2014/main" id="{BC668247-6FC9-F241-BE66-E7C825D6EC6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72" name="Graphic 35">
              <a:extLst>
                <a:ext uri="{FF2B5EF4-FFF2-40B4-BE49-F238E27FC236}">
                  <a16:creationId xmlns:a16="http://schemas.microsoft.com/office/drawing/2014/main" id="{6557080B-DFCD-194C-A16A-05460979CD44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76" name="Freeform 75">
                <a:extLst>
                  <a:ext uri="{FF2B5EF4-FFF2-40B4-BE49-F238E27FC236}">
                    <a16:creationId xmlns:a16="http://schemas.microsoft.com/office/drawing/2014/main" id="{F5BEA918-FA17-354C-A99E-F7ECF2A0C01C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7" name="Freeform 76">
                <a:extLst>
                  <a:ext uri="{FF2B5EF4-FFF2-40B4-BE49-F238E27FC236}">
                    <a16:creationId xmlns:a16="http://schemas.microsoft.com/office/drawing/2014/main" id="{F7702F89-47D2-2642-92AC-4434ACC54DC4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8" name="Freeform 77">
                <a:extLst>
                  <a:ext uri="{FF2B5EF4-FFF2-40B4-BE49-F238E27FC236}">
                    <a16:creationId xmlns:a16="http://schemas.microsoft.com/office/drawing/2014/main" id="{A79BB8E5-8226-AA49-8579-181EDAC7160E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9" name="Freeform 78">
                <a:extLst>
                  <a:ext uri="{FF2B5EF4-FFF2-40B4-BE49-F238E27FC236}">
                    <a16:creationId xmlns:a16="http://schemas.microsoft.com/office/drawing/2014/main" id="{7E6C7FE4-A079-3943-ABEC-F1674A92041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0" name="Freeform 79">
                <a:extLst>
                  <a:ext uri="{FF2B5EF4-FFF2-40B4-BE49-F238E27FC236}">
                    <a16:creationId xmlns:a16="http://schemas.microsoft.com/office/drawing/2014/main" id="{760DB7B3-96B0-E044-A8A5-C2F296EC9B04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E6EC96EE-6299-3441-8735-ED8ED6ABD323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E70779E8-777F-8544-991A-0F2A009F1A74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CE80CC0D-0A66-134B-BF15-ECAAF54AED67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75E05906-62E0-F245-9A6B-AB72022E2C8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C3E9347E-8875-C843-8C2B-7B770FE6F2CC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73" name="Graphic 35">
              <a:extLst>
                <a:ext uri="{FF2B5EF4-FFF2-40B4-BE49-F238E27FC236}">
                  <a16:creationId xmlns:a16="http://schemas.microsoft.com/office/drawing/2014/main" id="{6DE75B0B-5793-384D-A24C-C9ED501E3559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A9CA5135-D618-CF40-A778-7DD14578EF68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A7BF2A65-7BDB-B34B-B4DA-D0E7888AE81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6203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  <p:sldLayoutId id="2147483903" r:id="rId10"/>
    <p:sldLayoutId id="2147483904" r:id="rId11"/>
    <p:sldLayoutId id="2147483905" r:id="rId12"/>
    <p:sldLayoutId id="2147483906" r:id="rId13"/>
    <p:sldLayoutId id="2147483907" r:id="rId14"/>
    <p:sldLayoutId id="2147483908" r:id="rId15"/>
    <p:sldLayoutId id="2147483909" r:id="rId16"/>
    <p:sldLayoutId id="2147483910" r:id="rId17"/>
    <p:sldLayoutId id="2147483911" r:id="rId18"/>
    <p:sldLayoutId id="2147483912" r:id="rId1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spc="-50" baseline="0">
          <a:solidFill>
            <a:schemeClr val="tx1"/>
          </a:solidFill>
          <a:latin typeface="News Gothic MT" panose="020B0503020103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pos="211">
          <p15:clr>
            <a:srgbClr val="9FCC3B"/>
          </p15:clr>
        </p15:guide>
        <p15:guide id="4" pos="7469">
          <p15:clr>
            <a:srgbClr val="9FCC3B"/>
          </p15:clr>
        </p15:guide>
        <p15:guide id="5" pos="3840">
          <p15:clr>
            <a:srgbClr val="A4A3A4"/>
          </p15:clr>
        </p15:guide>
        <p15:guide id="6" pos="3908">
          <p15:clr>
            <a:srgbClr val="9FCC3B"/>
          </p15:clr>
        </p15:guide>
        <p15:guide id="7" pos="3772">
          <p15:clr>
            <a:srgbClr val="9FCC3B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F9401F-B608-43EE-A6E3-4072D7353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029658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6" name="think-cell Slide" r:id="rId20" imgW="395" imgH="394" progId="TCLayout.ActiveDocument.1">
                  <p:embed/>
                </p:oleObj>
              </mc:Choice>
              <mc:Fallback>
                <p:oleObj name="think-cell Slide" r:id="rId20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F9401F-B608-43EE-A6E3-4072D7353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F651D68-F83B-44FA-B57D-222532CB8477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News Gothic MT" panose="020B0504020203020204" pitchFamily="34" charset="0"/>
              <a:ea typeface="+mj-ea"/>
              <a:cs typeface="+mj-cs"/>
              <a:sym typeface="News Gothic MT" panose="020B0504020203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BD1FCB-8014-7B46-9A4D-017FB784E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CBCFC-7A2D-DA4F-9214-47E4181872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B2121-B29A-C944-A324-3FAF2A2E5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3" y="6356349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90ABA4-7763-F142-B528-A8FFCF75098B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39B99-096F-1046-94E2-6AA81AC53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6BB5993-452B-924D-AF78-668DF37FD0A8}" type="datetime1">
              <a:rPr lang="sv-SE" smtClean="0"/>
              <a:t>2021-08-1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93B4E5-5DD2-DF40-A787-271B2039F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grpSp>
        <p:nvGrpSpPr>
          <p:cNvPr id="39" name="Graphic 35">
            <a:extLst>
              <a:ext uri="{FF2B5EF4-FFF2-40B4-BE49-F238E27FC236}">
                <a16:creationId xmlns:a16="http://schemas.microsoft.com/office/drawing/2014/main" id="{B8A017B5-3320-F044-8850-524EDD462BF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896C2883-F8FD-0D4F-A489-C66C201470A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97EEB28-4975-8644-B783-E00A696FE6C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821261FE-A5F6-804B-9D8D-4C537C5BEF2A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C9D20264-3B0C-4249-99BF-5EF66623CBDA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796D0E5F-864E-2449-AB2B-A8D4105D3684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C22C75-FB43-DC4B-8ADE-0ECF9D58BB3F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0162E580-6F51-A04A-9CDA-F0E1A176258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AB08C688-64CF-1D4C-98D6-D6EDCB08B2C5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85834B60-4DCD-EA43-8CED-3CE4E10025A1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CF8D14C8-79B0-914B-BAF3-4A23DFF022D2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80E3FA27-A738-2741-A31B-4D414D7A92BD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1" name="Graphic 35">
              <a:extLst>
                <a:ext uri="{FF2B5EF4-FFF2-40B4-BE49-F238E27FC236}">
                  <a16:creationId xmlns:a16="http://schemas.microsoft.com/office/drawing/2014/main" id="{78486626-A071-F142-9DD2-C20A821E1D8C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D94484E4-591E-D642-8568-F6A54E064E97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03B91C1A-1E44-7245-B2B3-DA87D76CC0B5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75914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  <p:sldLayoutId id="2147483927" r:id="rId13"/>
    <p:sldLayoutId id="2147483928" r:id="rId14"/>
    <p:sldLayoutId id="2147483929" r:id="rId1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spc="-50" baseline="0">
          <a:solidFill>
            <a:schemeClr val="tx1"/>
          </a:solidFill>
          <a:latin typeface="News Gothic MT" panose="020B0503020103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pos="211">
          <p15:clr>
            <a:srgbClr val="9FCC3B"/>
          </p15:clr>
        </p15:guide>
        <p15:guide id="4" pos="7469">
          <p15:clr>
            <a:srgbClr val="9FCC3B"/>
          </p15:clr>
        </p15:guide>
        <p15:guide id="5" pos="3840">
          <p15:clr>
            <a:srgbClr val="A4A3A4"/>
          </p15:clr>
        </p15:guide>
        <p15:guide id="6" pos="3908">
          <p15:clr>
            <a:srgbClr val="9FCC3B"/>
          </p15:clr>
        </p15:guide>
        <p15:guide id="7" pos="3772">
          <p15:clr>
            <a:srgbClr val="9FCC3B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2352144-E932-4A5D-8111-4A8FC86711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376320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" name="think-cell Slide" r:id="rId20" imgW="592" imgH="595" progId="TCLayout.ActiveDocument.1">
                  <p:embed/>
                </p:oleObj>
              </mc:Choice>
              <mc:Fallback>
                <p:oleObj name="think-cell Slide" r:id="rId20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2352144-E932-4A5D-8111-4A8FC8671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09ED2A5-C415-4EF6-9217-F5FCBC312BE4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News Gothic MT" panose="020B0504020203020204" pitchFamily="34" charset="0"/>
              <a:ea typeface="+mj-ea"/>
              <a:cs typeface="+mj-cs"/>
              <a:sym typeface="News Gothic MT" panose="020B0504020203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BD1FCB-8014-7B46-9A4D-017FB784E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CBCFC-7A2D-DA4F-9214-47E4181872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B2121-B29A-C944-A324-3FAF2A2E5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3" y="6356349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90ABA4-7763-F142-B528-A8FFCF75098B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39B99-096F-1046-94E2-6AA81AC53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6BB5993-452B-924D-AF78-668DF37FD0A8}" type="datetime1">
              <a:rPr lang="sv-SE" smtClean="0"/>
              <a:t>2021-08-1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93B4E5-5DD2-DF40-A787-271B2039F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grpSp>
        <p:nvGrpSpPr>
          <p:cNvPr id="39" name="Graphic 35">
            <a:extLst>
              <a:ext uri="{FF2B5EF4-FFF2-40B4-BE49-F238E27FC236}">
                <a16:creationId xmlns:a16="http://schemas.microsoft.com/office/drawing/2014/main" id="{B8A017B5-3320-F044-8850-524EDD462BF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896C2883-F8FD-0D4F-A489-C66C201470A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97EEB28-4975-8644-B783-E00A696FE6C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821261FE-A5F6-804B-9D8D-4C537C5BEF2A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C9D20264-3B0C-4249-99BF-5EF66623CBDA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796D0E5F-864E-2449-AB2B-A8D4105D3684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C22C75-FB43-DC4B-8ADE-0ECF9D58BB3F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0162E580-6F51-A04A-9CDA-F0E1A176258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AB08C688-64CF-1D4C-98D6-D6EDCB08B2C5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85834B60-4DCD-EA43-8CED-3CE4E10025A1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CF8D14C8-79B0-914B-BAF3-4A23DFF022D2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80E3FA27-A738-2741-A31B-4D414D7A92BD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1" name="Graphic 35">
              <a:extLst>
                <a:ext uri="{FF2B5EF4-FFF2-40B4-BE49-F238E27FC236}">
                  <a16:creationId xmlns:a16="http://schemas.microsoft.com/office/drawing/2014/main" id="{78486626-A071-F142-9DD2-C20A821E1D8C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D94484E4-591E-D642-8568-F6A54E064E97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03B91C1A-1E44-7245-B2B3-DA87D76CC0B5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82085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3944" r:id="rId13"/>
    <p:sldLayoutId id="2147483945" r:id="rId14"/>
    <p:sldLayoutId id="2147483946" r:id="rId1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spc="-50" baseline="0">
          <a:solidFill>
            <a:schemeClr val="tx1"/>
          </a:solidFill>
          <a:latin typeface="News Gothic MT" panose="020B0503020103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pos="211">
          <p15:clr>
            <a:srgbClr val="9FCC3B"/>
          </p15:clr>
        </p15:guide>
        <p15:guide id="4" pos="7469">
          <p15:clr>
            <a:srgbClr val="9FCC3B"/>
          </p15:clr>
        </p15:guide>
        <p15:guide id="5" pos="3840">
          <p15:clr>
            <a:srgbClr val="A4A3A4"/>
          </p15:clr>
        </p15:guide>
        <p15:guide id="6" pos="3908">
          <p15:clr>
            <a:srgbClr val="9FCC3B"/>
          </p15:clr>
        </p15:guide>
        <p15:guide id="7" pos="3772">
          <p15:clr>
            <a:srgbClr val="9FCC3B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905B0B1-8E08-47FF-A5FA-C80F450193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663463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4"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905B0B1-8E08-47FF-A5FA-C80F45019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DB3EAAF-99A9-4AE7-93F5-61F073CB0C0C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22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News Gothic MT" panose="020B0504020203020204" pitchFamily="34" charset="0"/>
              <a:ea typeface="+mj-ea"/>
              <a:cs typeface="+mj-cs"/>
              <a:sym typeface="News Gothic MT" panose="020B0504020203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BD1FCB-8014-7B46-9A4D-017FB784E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CBCFC-7A2D-DA4F-9214-47E4181872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B2121-B29A-C944-A324-3FAF2A2E5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3" y="6356349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90ABA4-7763-F142-B528-A8FFCF75098B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39B99-096F-1046-94E2-6AA81AC53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B25B7FE-1732-8844-A88C-6400B08A9C89}" type="datetime1">
              <a:rPr lang="sv-SE" smtClean="0"/>
              <a:t>2021-08-1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93B4E5-5DD2-DF40-A787-271B2039F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grpSp>
        <p:nvGrpSpPr>
          <p:cNvPr id="71" name="Graphic 35">
            <a:extLst>
              <a:ext uri="{FF2B5EF4-FFF2-40B4-BE49-F238E27FC236}">
                <a16:creationId xmlns:a16="http://schemas.microsoft.com/office/drawing/2014/main" id="{BC668247-6FC9-F241-BE66-E7C825D6EC6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72" name="Graphic 35">
              <a:extLst>
                <a:ext uri="{FF2B5EF4-FFF2-40B4-BE49-F238E27FC236}">
                  <a16:creationId xmlns:a16="http://schemas.microsoft.com/office/drawing/2014/main" id="{6557080B-DFCD-194C-A16A-05460979CD44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76" name="Freeform 75">
                <a:extLst>
                  <a:ext uri="{FF2B5EF4-FFF2-40B4-BE49-F238E27FC236}">
                    <a16:creationId xmlns:a16="http://schemas.microsoft.com/office/drawing/2014/main" id="{F5BEA918-FA17-354C-A99E-F7ECF2A0C01C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7" name="Freeform 76">
                <a:extLst>
                  <a:ext uri="{FF2B5EF4-FFF2-40B4-BE49-F238E27FC236}">
                    <a16:creationId xmlns:a16="http://schemas.microsoft.com/office/drawing/2014/main" id="{F7702F89-47D2-2642-92AC-4434ACC54DC4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8" name="Freeform 77">
                <a:extLst>
                  <a:ext uri="{FF2B5EF4-FFF2-40B4-BE49-F238E27FC236}">
                    <a16:creationId xmlns:a16="http://schemas.microsoft.com/office/drawing/2014/main" id="{A79BB8E5-8226-AA49-8579-181EDAC7160E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9" name="Freeform 78">
                <a:extLst>
                  <a:ext uri="{FF2B5EF4-FFF2-40B4-BE49-F238E27FC236}">
                    <a16:creationId xmlns:a16="http://schemas.microsoft.com/office/drawing/2014/main" id="{7E6C7FE4-A079-3943-ABEC-F1674A92041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0" name="Freeform 79">
                <a:extLst>
                  <a:ext uri="{FF2B5EF4-FFF2-40B4-BE49-F238E27FC236}">
                    <a16:creationId xmlns:a16="http://schemas.microsoft.com/office/drawing/2014/main" id="{760DB7B3-96B0-E044-A8A5-C2F296EC9B04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E6EC96EE-6299-3441-8735-ED8ED6ABD323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E70779E8-777F-8544-991A-0F2A009F1A74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CE80CC0D-0A66-134B-BF15-ECAAF54AED67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75E05906-62E0-F245-9A6B-AB72022E2C8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C3E9347E-8875-C843-8C2B-7B770FE6F2CC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73" name="Graphic 35">
              <a:extLst>
                <a:ext uri="{FF2B5EF4-FFF2-40B4-BE49-F238E27FC236}">
                  <a16:creationId xmlns:a16="http://schemas.microsoft.com/office/drawing/2014/main" id="{6DE75B0B-5793-384D-A24C-C9ED501E3559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A9CA5135-D618-CF40-A778-7DD14578EF68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A7BF2A65-7BDB-B34B-B4DA-D0E7888AE81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30863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  <p:sldLayoutId id="2147483958" r:id="rId10"/>
    <p:sldLayoutId id="2147483959" r:id="rId11"/>
    <p:sldLayoutId id="2147483960" r:id="rId12"/>
    <p:sldLayoutId id="2147483961" r:id="rId13"/>
    <p:sldLayoutId id="2147483962" r:id="rId14"/>
    <p:sldLayoutId id="2147483963" r:id="rId15"/>
    <p:sldLayoutId id="2147483964" r:id="rId16"/>
    <p:sldLayoutId id="2147483965" r:id="rId1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spc="-50" baseline="0">
          <a:solidFill>
            <a:schemeClr val="tx1"/>
          </a:solidFill>
          <a:latin typeface="News Gothic MT" panose="020B0503020103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pos="211">
          <p15:clr>
            <a:srgbClr val="9FCC3B"/>
          </p15:clr>
        </p15:guide>
        <p15:guide id="4" pos="7469">
          <p15:clr>
            <a:srgbClr val="9FCC3B"/>
          </p15:clr>
        </p15:guide>
        <p15:guide id="5" pos="3840">
          <p15:clr>
            <a:srgbClr val="A4A3A4"/>
          </p15:clr>
        </p15:guide>
        <p15:guide id="6" pos="3908">
          <p15:clr>
            <a:srgbClr val="9FCC3B"/>
          </p15:clr>
        </p15:guide>
        <p15:guide id="7" pos="3772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BD1FCB-8014-7B46-9A4D-017FB784E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CBCFC-7A2D-DA4F-9214-47E4181872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B2121-B29A-C944-A324-3FAF2A2E5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3" y="6356349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90ABA4-7763-F142-B528-A8FFCF75098B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39B99-096F-1046-94E2-6AA81AC53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6BB5993-452B-924D-AF78-668DF37FD0A8}" type="datetime1">
              <a:rPr lang="sv-SE" smtClean="0"/>
              <a:t>2021-08-1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93B4E5-5DD2-DF40-A787-271B2039F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grpSp>
        <p:nvGrpSpPr>
          <p:cNvPr id="39" name="Graphic 35">
            <a:extLst>
              <a:ext uri="{FF2B5EF4-FFF2-40B4-BE49-F238E27FC236}">
                <a16:creationId xmlns:a16="http://schemas.microsoft.com/office/drawing/2014/main" id="{B8A017B5-3320-F044-8850-524EDD462BF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896C2883-F8FD-0D4F-A489-C66C201470A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97EEB28-4975-8644-B783-E00A696FE6C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821261FE-A5F6-804B-9D8D-4C537C5BEF2A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C9D20264-3B0C-4249-99BF-5EF66623CBDA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796D0E5F-864E-2449-AB2B-A8D4105D3684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C22C75-FB43-DC4B-8ADE-0ECF9D58BB3F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0162E580-6F51-A04A-9CDA-F0E1A176258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AB08C688-64CF-1D4C-98D6-D6EDCB08B2C5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85834B60-4DCD-EA43-8CED-3CE4E10025A1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CF8D14C8-79B0-914B-BAF3-4A23DFF022D2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80E3FA27-A738-2741-A31B-4D414D7A92BD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1" name="Graphic 35">
              <a:extLst>
                <a:ext uri="{FF2B5EF4-FFF2-40B4-BE49-F238E27FC236}">
                  <a16:creationId xmlns:a16="http://schemas.microsoft.com/office/drawing/2014/main" id="{78486626-A071-F142-9DD2-C20A821E1D8C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D94484E4-591E-D642-8568-F6A54E064E97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03B91C1A-1E44-7245-B2B3-DA87D76CC0B5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29943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88" r:id="rId4"/>
    <p:sldLayoutId id="2147483690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708" r:id="rId1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spc="-50" baseline="0">
          <a:solidFill>
            <a:schemeClr val="tx1"/>
          </a:solidFill>
          <a:latin typeface="News Gothic MT" panose="020B0503020103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pos="211">
          <p15:clr>
            <a:srgbClr val="9FCC3B"/>
          </p15:clr>
        </p15:guide>
        <p15:guide id="4" pos="7469">
          <p15:clr>
            <a:srgbClr val="9FCC3B"/>
          </p15:clr>
        </p15:guide>
        <p15:guide id="5" pos="3840">
          <p15:clr>
            <a:srgbClr val="A4A3A4"/>
          </p15:clr>
        </p15:guide>
        <p15:guide id="6" pos="3908">
          <p15:clr>
            <a:srgbClr val="9FCC3B"/>
          </p15:clr>
        </p15:guide>
        <p15:guide id="7" pos="3772">
          <p15:clr>
            <a:srgbClr val="9FCC3B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905B0B1-8E08-47FF-A5FA-C80F450193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642951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905B0B1-8E08-47FF-A5FA-C80F45019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DB3EAAF-99A9-4AE7-93F5-61F073CB0C0C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22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News Gothic MT" panose="020B0504020203020204" pitchFamily="34" charset="0"/>
              <a:ea typeface="+mj-ea"/>
              <a:cs typeface="+mj-cs"/>
              <a:sym typeface="News Gothic MT" panose="020B0504020203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BD1FCB-8014-7B46-9A4D-017FB784E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CBCFC-7A2D-DA4F-9214-47E4181872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B2121-B29A-C944-A324-3FAF2A2E5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3" y="6356349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90ABA4-7763-F142-B528-A8FFCF75098B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39B99-096F-1046-94E2-6AA81AC53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B25B7FE-1732-8844-A88C-6400B08A9C89}" type="datetime1">
              <a:rPr lang="sv-SE" smtClean="0"/>
              <a:t>2021-08-1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93B4E5-5DD2-DF40-A787-271B2039F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grpSp>
        <p:nvGrpSpPr>
          <p:cNvPr id="71" name="Graphic 35">
            <a:extLst>
              <a:ext uri="{FF2B5EF4-FFF2-40B4-BE49-F238E27FC236}">
                <a16:creationId xmlns:a16="http://schemas.microsoft.com/office/drawing/2014/main" id="{BC668247-6FC9-F241-BE66-E7C825D6EC6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72" name="Graphic 35">
              <a:extLst>
                <a:ext uri="{FF2B5EF4-FFF2-40B4-BE49-F238E27FC236}">
                  <a16:creationId xmlns:a16="http://schemas.microsoft.com/office/drawing/2014/main" id="{6557080B-DFCD-194C-A16A-05460979CD44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76" name="Freeform 75">
                <a:extLst>
                  <a:ext uri="{FF2B5EF4-FFF2-40B4-BE49-F238E27FC236}">
                    <a16:creationId xmlns:a16="http://schemas.microsoft.com/office/drawing/2014/main" id="{F5BEA918-FA17-354C-A99E-F7ECF2A0C01C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7" name="Freeform 76">
                <a:extLst>
                  <a:ext uri="{FF2B5EF4-FFF2-40B4-BE49-F238E27FC236}">
                    <a16:creationId xmlns:a16="http://schemas.microsoft.com/office/drawing/2014/main" id="{F7702F89-47D2-2642-92AC-4434ACC54DC4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8" name="Freeform 77">
                <a:extLst>
                  <a:ext uri="{FF2B5EF4-FFF2-40B4-BE49-F238E27FC236}">
                    <a16:creationId xmlns:a16="http://schemas.microsoft.com/office/drawing/2014/main" id="{A79BB8E5-8226-AA49-8579-181EDAC7160E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9" name="Freeform 78">
                <a:extLst>
                  <a:ext uri="{FF2B5EF4-FFF2-40B4-BE49-F238E27FC236}">
                    <a16:creationId xmlns:a16="http://schemas.microsoft.com/office/drawing/2014/main" id="{7E6C7FE4-A079-3943-ABEC-F1674A92041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0" name="Freeform 79">
                <a:extLst>
                  <a:ext uri="{FF2B5EF4-FFF2-40B4-BE49-F238E27FC236}">
                    <a16:creationId xmlns:a16="http://schemas.microsoft.com/office/drawing/2014/main" id="{760DB7B3-96B0-E044-A8A5-C2F296EC9B04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E6EC96EE-6299-3441-8735-ED8ED6ABD323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E70779E8-777F-8544-991A-0F2A009F1A74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CE80CC0D-0A66-134B-BF15-ECAAF54AED67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75E05906-62E0-F245-9A6B-AB72022E2C8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C3E9347E-8875-C843-8C2B-7B770FE6F2CC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73" name="Graphic 35">
              <a:extLst>
                <a:ext uri="{FF2B5EF4-FFF2-40B4-BE49-F238E27FC236}">
                  <a16:creationId xmlns:a16="http://schemas.microsoft.com/office/drawing/2014/main" id="{6DE75B0B-5793-384D-A24C-C9ED501E3559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A9CA5135-D618-CF40-A778-7DD14578EF68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A7BF2A65-7BDB-B34B-B4DA-D0E7888AE81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52840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spc="-50" baseline="0">
          <a:solidFill>
            <a:schemeClr val="tx1"/>
          </a:solidFill>
          <a:latin typeface="News Gothic MT" panose="020B0503020103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pos="211">
          <p15:clr>
            <a:srgbClr val="9FCC3B"/>
          </p15:clr>
        </p15:guide>
        <p15:guide id="4" pos="7469">
          <p15:clr>
            <a:srgbClr val="9FCC3B"/>
          </p15:clr>
        </p15:guide>
        <p15:guide id="5" pos="3840">
          <p15:clr>
            <a:srgbClr val="A4A3A4"/>
          </p15:clr>
        </p15:guide>
        <p15:guide id="6" pos="3908">
          <p15:clr>
            <a:srgbClr val="9FCC3B"/>
          </p15:clr>
        </p15:guide>
        <p15:guide id="7" pos="3772">
          <p15:clr>
            <a:srgbClr val="9FCC3B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F9401F-B608-43EE-A6E3-4072D7353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603545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F9401F-B608-43EE-A6E3-4072D7353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F651D68-F83B-44FA-B57D-222532CB8477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News Gothic MT" panose="020B0504020203020204" pitchFamily="34" charset="0"/>
              <a:ea typeface="+mj-ea"/>
              <a:cs typeface="+mj-cs"/>
              <a:sym typeface="News Gothic MT" panose="020B0504020203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BD1FCB-8014-7B46-9A4D-017FB784E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CBCFC-7A2D-DA4F-9214-47E4181872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B2121-B29A-C944-A324-3FAF2A2E5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3" y="6356349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90ABA4-7763-F142-B528-A8FFCF75098B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39B99-096F-1046-94E2-6AA81AC53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6BB5993-452B-924D-AF78-668DF37FD0A8}" type="datetime1">
              <a:rPr lang="sv-SE" smtClean="0"/>
              <a:t>2021-08-1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93B4E5-5DD2-DF40-A787-271B2039F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grpSp>
        <p:nvGrpSpPr>
          <p:cNvPr id="39" name="Graphic 35">
            <a:extLst>
              <a:ext uri="{FF2B5EF4-FFF2-40B4-BE49-F238E27FC236}">
                <a16:creationId xmlns:a16="http://schemas.microsoft.com/office/drawing/2014/main" id="{B8A017B5-3320-F044-8850-524EDD462BF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896C2883-F8FD-0D4F-A489-C66C201470A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97EEB28-4975-8644-B783-E00A696FE6C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821261FE-A5F6-804B-9D8D-4C537C5BEF2A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C9D20264-3B0C-4249-99BF-5EF66623CBDA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796D0E5F-864E-2449-AB2B-A8D4105D3684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C22C75-FB43-DC4B-8ADE-0ECF9D58BB3F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0162E580-6F51-A04A-9CDA-F0E1A176258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AB08C688-64CF-1D4C-98D6-D6EDCB08B2C5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85834B60-4DCD-EA43-8CED-3CE4E10025A1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CF8D14C8-79B0-914B-BAF3-4A23DFF022D2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80E3FA27-A738-2741-A31B-4D414D7A92BD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1" name="Graphic 35">
              <a:extLst>
                <a:ext uri="{FF2B5EF4-FFF2-40B4-BE49-F238E27FC236}">
                  <a16:creationId xmlns:a16="http://schemas.microsoft.com/office/drawing/2014/main" id="{78486626-A071-F142-9DD2-C20A821E1D8C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D94484E4-591E-D642-8568-F6A54E064E97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03B91C1A-1E44-7245-B2B3-DA87D76CC0B5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75007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spc="-50" baseline="0">
          <a:solidFill>
            <a:schemeClr val="tx1"/>
          </a:solidFill>
          <a:latin typeface="News Gothic MT" panose="020B0503020103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pos="211">
          <p15:clr>
            <a:srgbClr val="9FCC3B"/>
          </p15:clr>
        </p15:guide>
        <p15:guide id="4" pos="7469">
          <p15:clr>
            <a:srgbClr val="9FCC3B"/>
          </p15:clr>
        </p15:guide>
        <p15:guide id="5" pos="3840">
          <p15:clr>
            <a:srgbClr val="A4A3A4"/>
          </p15:clr>
        </p15:guide>
        <p15:guide id="6" pos="3908">
          <p15:clr>
            <a:srgbClr val="9FCC3B"/>
          </p15:clr>
        </p15:guide>
        <p15:guide id="7" pos="3772">
          <p15:clr>
            <a:srgbClr val="9FCC3B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F9401F-B608-43EE-A6E3-4072D7353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962585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F9401F-B608-43EE-A6E3-4072D7353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F651D68-F83B-44FA-B57D-222532CB8477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News Gothic MT" panose="020B0504020203020204" pitchFamily="34" charset="0"/>
              <a:ea typeface="+mj-ea"/>
              <a:cs typeface="+mj-cs"/>
              <a:sym typeface="News Gothic MT" panose="020B0504020203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BD1FCB-8014-7B46-9A4D-017FB784E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CBCFC-7A2D-DA4F-9214-47E4181872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B2121-B29A-C944-A324-3FAF2A2E5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3" y="6356349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90ABA4-7763-F142-B528-A8FFCF75098B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39B99-096F-1046-94E2-6AA81AC53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6BB5993-452B-924D-AF78-668DF37FD0A8}" type="datetime1">
              <a:rPr lang="sv-SE" smtClean="0"/>
              <a:t>2021-08-1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93B4E5-5DD2-DF40-A787-271B2039F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grpSp>
        <p:nvGrpSpPr>
          <p:cNvPr id="39" name="Graphic 35">
            <a:extLst>
              <a:ext uri="{FF2B5EF4-FFF2-40B4-BE49-F238E27FC236}">
                <a16:creationId xmlns:a16="http://schemas.microsoft.com/office/drawing/2014/main" id="{B8A017B5-3320-F044-8850-524EDD462BF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896C2883-F8FD-0D4F-A489-C66C201470A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97EEB28-4975-8644-B783-E00A696FE6C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821261FE-A5F6-804B-9D8D-4C537C5BEF2A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C9D20264-3B0C-4249-99BF-5EF66623CBDA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796D0E5F-864E-2449-AB2B-A8D4105D3684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C22C75-FB43-DC4B-8ADE-0ECF9D58BB3F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0162E580-6F51-A04A-9CDA-F0E1A176258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AB08C688-64CF-1D4C-98D6-D6EDCB08B2C5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85834B60-4DCD-EA43-8CED-3CE4E10025A1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CF8D14C8-79B0-914B-BAF3-4A23DFF022D2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80E3FA27-A738-2741-A31B-4D414D7A92BD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1" name="Graphic 35">
              <a:extLst>
                <a:ext uri="{FF2B5EF4-FFF2-40B4-BE49-F238E27FC236}">
                  <a16:creationId xmlns:a16="http://schemas.microsoft.com/office/drawing/2014/main" id="{78486626-A071-F142-9DD2-C20A821E1D8C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D94484E4-591E-D642-8568-F6A54E064E97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03B91C1A-1E44-7245-B2B3-DA87D76CC0B5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995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spc="-50" baseline="0">
          <a:solidFill>
            <a:schemeClr val="tx1"/>
          </a:solidFill>
          <a:latin typeface="News Gothic MT" panose="020B0503020103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pos="211">
          <p15:clr>
            <a:srgbClr val="9FCC3B"/>
          </p15:clr>
        </p15:guide>
        <p15:guide id="4" pos="7469">
          <p15:clr>
            <a:srgbClr val="9FCC3B"/>
          </p15:clr>
        </p15:guide>
        <p15:guide id="5" pos="3840">
          <p15:clr>
            <a:srgbClr val="A4A3A4"/>
          </p15:clr>
        </p15:guide>
        <p15:guide id="6" pos="3908">
          <p15:clr>
            <a:srgbClr val="9FCC3B"/>
          </p15:clr>
        </p15:guide>
        <p15:guide id="7" pos="3772">
          <p15:clr>
            <a:srgbClr val="9FCC3B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F9401F-B608-43EE-A6E3-4072D7353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705499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F9401F-B608-43EE-A6E3-4072D7353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F651D68-F83B-44FA-B57D-222532CB8477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News Gothic MT" panose="020B0504020203020204" pitchFamily="34" charset="0"/>
              <a:ea typeface="+mj-ea"/>
              <a:cs typeface="+mj-cs"/>
              <a:sym typeface="News Gothic MT" panose="020B0504020203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BD1FCB-8014-7B46-9A4D-017FB784E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CBCFC-7A2D-DA4F-9214-47E4181872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B2121-B29A-C944-A324-3FAF2A2E5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3" y="6356349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90ABA4-7763-F142-B528-A8FFCF75098B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39B99-096F-1046-94E2-6AA81AC53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6BB5993-452B-924D-AF78-668DF37FD0A8}" type="datetime1">
              <a:rPr lang="sv-SE" smtClean="0"/>
              <a:t>2021-08-1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93B4E5-5DD2-DF40-A787-271B2039F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grpSp>
        <p:nvGrpSpPr>
          <p:cNvPr id="39" name="Graphic 35">
            <a:extLst>
              <a:ext uri="{FF2B5EF4-FFF2-40B4-BE49-F238E27FC236}">
                <a16:creationId xmlns:a16="http://schemas.microsoft.com/office/drawing/2014/main" id="{B8A017B5-3320-F044-8850-524EDD462BF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896C2883-F8FD-0D4F-A489-C66C201470A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97EEB28-4975-8644-B783-E00A696FE6C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821261FE-A5F6-804B-9D8D-4C537C5BEF2A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C9D20264-3B0C-4249-99BF-5EF66623CBDA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796D0E5F-864E-2449-AB2B-A8D4105D3684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C22C75-FB43-DC4B-8ADE-0ECF9D58BB3F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0162E580-6F51-A04A-9CDA-F0E1A176258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AB08C688-64CF-1D4C-98D6-D6EDCB08B2C5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85834B60-4DCD-EA43-8CED-3CE4E10025A1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CF8D14C8-79B0-914B-BAF3-4A23DFF022D2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80E3FA27-A738-2741-A31B-4D414D7A92BD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1" name="Graphic 35">
              <a:extLst>
                <a:ext uri="{FF2B5EF4-FFF2-40B4-BE49-F238E27FC236}">
                  <a16:creationId xmlns:a16="http://schemas.microsoft.com/office/drawing/2014/main" id="{78486626-A071-F142-9DD2-C20A821E1D8C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D94484E4-591E-D642-8568-F6A54E064E97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03B91C1A-1E44-7245-B2B3-DA87D76CC0B5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10173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79" r:id="rId14"/>
    <p:sldLayoutId id="2147483780" r:id="rId15"/>
    <p:sldLayoutId id="2147483781" r:id="rId1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spc="-50" baseline="0">
          <a:solidFill>
            <a:schemeClr val="tx1"/>
          </a:solidFill>
          <a:latin typeface="News Gothic MT" panose="020B0503020103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pos="211">
          <p15:clr>
            <a:srgbClr val="9FCC3B"/>
          </p15:clr>
        </p15:guide>
        <p15:guide id="4" pos="7469">
          <p15:clr>
            <a:srgbClr val="9FCC3B"/>
          </p15:clr>
        </p15:guide>
        <p15:guide id="5" pos="3840">
          <p15:clr>
            <a:srgbClr val="A4A3A4"/>
          </p15:clr>
        </p15:guide>
        <p15:guide id="6" pos="3908">
          <p15:clr>
            <a:srgbClr val="9FCC3B"/>
          </p15:clr>
        </p15:guide>
        <p15:guide id="7" pos="3772">
          <p15:clr>
            <a:srgbClr val="9FCC3B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F9401F-B608-43EE-A6E3-4072D7353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655084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F9401F-B608-43EE-A6E3-4072D7353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F651D68-F83B-44FA-B57D-222532CB8477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News Gothic MT" panose="020B0504020203020204" pitchFamily="34" charset="0"/>
              <a:ea typeface="+mj-ea"/>
              <a:cs typeface="+mj-cs"/>
              <a:sym typeface="News Gothic MT" panose="020B0504020203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BD1FCB-8014-7B46-9A4D-017FB784E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CBCFC-7A2D-DA4F-9214-47E4181872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B2121-B29A-C944-A324-3FAF2A2E5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3" y="6356349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90ABA4-7763-F142-B528-A8FFCF75098B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39B99-096F-1046-94E2-6AA81AC53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6BB5993-452B-924D-AF78-668DF37FD0A8}" type="datetime1">
              <a:rPr lang="sv-SE" smtClean="0"/>
              <a:t>2021-08-1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93B4E5-5DD2-DF40-A787-271B2039F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grpSp>
        <p:nvGrpSpPr>
          <p:cNvPr id="39" name="Graphic 35">
            <a:extLst>
              <a:ext uri="{FF2B5EF4-FFF2-40B4-BE49-F238E27FC236}">
                <a16:creationId xmlns:a16="http://schemas.microsoft.com/office/drawing/2014/main" id="{B8A017B5-3320-F044-8850-524EDD462BF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896C2883-F8FD-0D4F-A489-C66C201470A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97EEB28-4975-8644-B783-E00A696FE6C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821261FE-A5F6-804B-9D8D-4C537C5BEF2A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C9D20264-3B0C-4249-99BF-5EF66623CBDA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796D0E5F-864E-2449-AB2B-A8D4105D3684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C22C75-FB43-DC4B-8ADE-0ECF9D58BB3F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0162E580-6F51-A04A-9CDA-F0E1A176258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AB08C688-64CF-1D4C-98D6-D6EDCB08B2C5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85834B60-4DCD-EA43-8CED-3CE4E10025A1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CF8D14C8-79B0-914B-BAF3-4A23DFF022D2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80E3FA27-A738-2741-A31B-4D414D7A92BD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1" name="Graphic 35">
              <a:extLst>
                <a:ext uri="{FF2B5EF4-FFF2-40B4-BE49-F238E27FC236}">
                  <a16:creationId xmlns:a16="http://schemas.microsoft.com/office/drawing/2014/main" id="{78486626-A071-F142-9DD2-C20A821E1D8C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D94484E4-591E-D642-8568-F6A54E064E97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03B91C1A-1E44-7245-B2B3-DA87D76CC0B5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47106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  <p:sldLayoutId id="2147483796" r:id="rId14"/>
    <p:sldLayoutId id="2147483797" r:id="rId15"/>
    <p:sldLayoutId id="2147483798" r:id="rId1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spc="-50" baseline="0">
          <a:solidFill>
            <a:schemeClr val="tx1"/>
          </a:solidFill>
          <a:latin typeface="News Gothic MT" panose="020B0503020103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pos="211">
          <p15:clr>
            <a:srgbClr val="9FCC3B"/>
          </p15:clr>
        </p15:guide>
        <p15:guide id="4" pos="7469">
          <p15:clr>
            <a:srgbClr val="9FCC3B"/>
          </p15:clr>
        </p15:guide>
        <p15:guide id="5" pos="3840">
          <p15:clr>
            <a:srgbClr val="A4A3A4"/>
          </p15:clr>
        </p15:guide>
        <p15:guide id="6" pos="3908">
          <p15:clr>
            <a:srgbClr val="9FCC3B"/>
          </p15:clr>
        </p15:guide>
        <p15:guide id="7" pos="3772">
          <p15:clr>
            <a:srgbClr val="9FCC3B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F9401F-B608-43EE-A6E3-4072D7353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think-cell Slide" r:id="rId22" imgW="395" imgH="394" progId="TCLayout.ActiveDocument.1">
                  <p:embed/>
                </p:oleObj>
              </mc:Choice>
              <mc:Fallback>
                <p:oleObj name="think-cell Slide" r:id="rId22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F9401F-B608-43EE-A6E3-4072D7353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F651D68-F83B-44FA-B57D-222532CB8477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News Gothic MT" panose="020B0504020203020204" pitchFamily="34" charset="0"/>
              <a:ea typeface="+mj-ea"/>
              <a:cs typeface="+mj-cs"/>
              <a:sym typeface="News Gothic MT" panose="020B0504020203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BD1FCB-8014-7B46-9A4D-017FB784E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CBCFC-7A2D-DA4F-9214-47E4181872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B2121-B29A-C944-A324-3FAF2A2E5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3" y="6356349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90ABA4-7763-F142-B528-A8FFCF75098B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39B99-096F-1046-94E2-6AA81AC53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36BB5993-452B-924D-AF78-668DF37FD0A8}" type="datetime1">
              <a:rPr lang="sv-SE" smtClean="0"/>
              <a:t>2021-08-1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93B4E5-5DD2-DF40-A787-271B2039F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grpSp>
        <p:nvGrpSpPr>
          <p:cNvPr id="39" name="Graphic 35">
            <a:extLst>
              <a:ext uri="{FF2B5EF4-FFF2-40B4-BE49-F238E27FC236}">
                <a16:creationId xmlns:a16="http://schemas.microsoft.com/office/drawing/2014/main" id="{B8A017B5-3320-F044-8850-524EDD462BF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40" name="Graphic 35">
              <a:extLst>
                <a:ext uri="{FF2B5EF4-FFF2-40B4-BE49-F238E27FC236}">
                  <a16:creationId xmlns:a16="http://schemas.microsoft.com/office/drawing/2014/main" id="{896C2883-F8FD-0D4F-A489-C66C201470AC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597EEB28-4975-8644-B783-E00A696FE6C7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821261FE-A5F6-804B-9D8D-4C537C5BEF2A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C9D20264-3B0C-4249-99BF-5EF66623CBDA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796D0E5F-864E-2449-AB2B-A8D4105D3684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16C22C75-FB43-DC4B-8ADE-0ECF9D58BB3F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0162E580-6F51-A04A-9CDA-F0E1A176258C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AB08C688-64CF-1D4C-98D6-D6EDCB08B2C5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85834B60-4DCD-EA43-8CED-3CE4E10025A1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CF8D14C8-79B0-914B-BAF3-4A23DFF022D2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80E3FA27-A738-2741-A31B-4D414D7A92BD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41" name="Graphic 35">
              <a:extLst>
                <a:ext uri="{FF2B5EF4-FFF2-40B4-BE49-F238E27FC236}">
                  <a16:creationId xmlns:a16="http://schemas.microsoft.com/office/drawing/2014/main" id="{78486626-A071-F142-9DD2-C20A821E1D8C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D94484E4-591E-D642-8568-F6A54E064E97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03B91C1A-1E44-7245-B2B3-DA87D76CC0B5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83931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969" r:id="rId1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spc="-50" baseline="0">
          <a:solidFill>
            <a:schemeClr val="tx1"/>
          </a:solidFill>
          <a:latin typeface="News Gothic MT" panose="020B0503020103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pos="211">
          <p15:clr>
            <a:srgbClr val="9FCC3B"/>
          </p15:clr>
        </p15:guide>
        <p15:guide id="4" pos="7469">
          <p15:clr>
            <a:srgbClr val="9FCC3B"/>
          </p15:clr>
        </p15:guide>
        <p15:guide id="5" pos="3840">
          <p15:clr>
            <a:srgbClr val="A4A3A4"/>
          </p15:clr>
        </p15:guide>
        <p15:guide id="6" pos="3908">
          <p15:clr>
            <a:srgbClr val="9FCC3B"/>
          </p15:clr>
        </p15:guide>
        <p15:guide id="7" pos="3772">
          <p15:clr>
            <a:srgbClr val="9FCC3B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905B0B1-8E08-47FF-A5FA-C80F450193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23" imgW="395" imgH="394" progId="TCLayout.ActiveDocument.1">
                  <p:embed/>
                </p:oleObj>
              </mc:Choice>
              <mc:Fallback>
                <p:oleObj name="think-cell Slide" r:id="rId2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905B0B1-8E08-47FF-A5FA-C80F450193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DB3EAAF-99A9-4AE7-93F5-61F073CB0C0C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22E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>
              <a:latin typeface="News Gothic MT" panose="020B0504020203020204" pitchFamily="34" charset="0"/>
              <a:ea typeface="+mj-ea"/>
              <a:cs typeface="+mj-cs"/>
              <a:sym typeface="News Gothic MT" panose="020B0504020203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BD1FCB-8014-7B46-9A4D-017FB784E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CCBCFC-7A2D-DA4F-9214-47E4181872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B2121-B29A-C944-A324-3FAF2A2E54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34963" y="6356349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AB01FC4-7955-D449-9DAF-9B8EE363BB6A}" type="slidenum">
              <a:rPr lang="sv-SE" smtClean="0"/>
              <a:pPr/>
              <a:t>‹#›</a:t>
            </a:fld>
            <a:endParaRPr lang="sv-SE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90ABA4-7763-F142-B528-A8FFCF75098B}"/>
              </a:ext>
            </a:extLst>
          </p:cNvPr>
          <p:cNvCxnSpPr>
            <a:cxnSpLocks/>
          </p:cNvCxnSpPr>
          <p:nvPr userDrawn="1"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39B99-096F-1046-94E2-6AA81AC53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00300" y="6356349"/>
            <a:ext cx="9144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9000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fld id="{AB25B7FE-1732-8844-A88C-6400B08A9C89}" type="datetime1">
              <a:rPr lang="sv-SE" smtClean="0"/>
              <a:t>2021-08-17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93B4E5-5DD2-DF40-A787-271B2039F5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9788" y="6356349"/>
            <a:ext cx="1562100" cy="3672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 anchor="ctr"/>
          <a:lstStyle>
            <a:lvl1pPr algn="l">
              <a:defRPr sz="800" b="0" i="0">
                <a:solidFill>
                  <a:schemeClr val="tx1"/>
                </a:solidFill>
                <a:latin typeface="News Gothic MT" panose="020B0503020103020203" pitchFamily="34" charset="0"/>
              </a:defRPr>
            </a:lvl1pPr>
          </a:lstStyle>
          <a:p>
            <a:r>
              <a:rPr lang="sv-SE"/>
              <a:t>CONFIDENTIAL</a:t>
            </a:r>
          </a:p>
        </p:txBody>
      </p:sp>
      <p:grpSp>
        <p:nvGrpSpPr>
          <p:cNvPr id="71" name="Graphic 35">
            <a:extLst>
              <a:ext uri="{FF2B5EF4-FFF2-40B4-BE49-F238E27FC236}">
                <a16:creationId xmlns:a16="http://schemas.microsoft.com/office/drawing/2014/main" id="{BC668247-6FC9-F241-BE66-E7C825D6EC64}"/>
              </a:ext>
            </a:extLst>
          </p:cNvPr>
          <p:cNvGrpSpPr/>
          <p:nvPr userDrawn="1"/>
        </p:nvGrpSpPr>
        <p:grpSpPr>
          <a:xfrm>
            <a:off x="10500492" y="6444184"/>
            <a:ext cx="1356545" cy="209293"/>
            <a:chOff x="3066288" y="2960996"/>
            <a:chExt cx="6066790" cy="936008"/>
          </a:xfrm>
          <a:solidFill>
            <a:srgbClr val="222E3A"/>
          </a:solidFill>
        </p:grpSpPr>
        <p:grpSp>
          <p:nvGrpSpPr>
            <p:cNvPr id="72" name="Graphic 35">
              <a:extLst>
                <a:ext uri="{FF2B5EF4-FFF2-40B4-BE49-F238E27FC236}">
                  <a16:creationId xmlns:a16="http://schemas.microsoft.com/office/drawing/2014/main" id="{6557080B-DFCD-194C-A16A-05460979CD44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8"/>
              <a:chOff x="3989014" y="2960996"/>
              <a:chExt cx="5144064" cy="936008"/>
            </a:xfrm>
            <a:grpFill/>
          </p:grpSpPr>
          <p:sp>
            <p:nvSpPr>
              <p:cNvPr id="76" name="Freeform 75">
                <a:extLst>
                  <a:ext uri="{FF2B5EF4-FFF2-40B4-BE49-F238E27FC236}">
                    <a16:creationId xmlns:a16="http://schemas.microsoft.com/office/drawing/2014/main" id="{F5BEA918-FA17-354C-A99E-F7ECF2A0C01C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7" name="Freeform 76">
                <a:extLst>
                  <a:ext uri="{FF2B5EF4-FFF2-40B4-BE49-F238E27FC236}">
                    <a16:creationId xmlns:a16="http://schemas.microsoft.com/office/drawing/2014/main" id="{F7702F89-47D2-2642-92AC-4434ACC54DC4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8" name="Freeform 77">
                <a:extLst>
                  <a:ext uri="{FF2B5EF4-FFF2-40B4-BE49-F238E27FC236}">
                    <a16:creationId xmlns:a16="http://schemas.microsoft.com/office/drawing/2014/main" id="{A79BB8E5-8226-AA49-8579-181EDAC7160E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9" name="Freeform 78">
                <a:extLst>
                  <a:ext uri="{FF2B5EF4-FFF2-40B4-BE49-F238E27FC236}">
                    <a16:creationId xmlns:a16="http://schemas.microsoft.com/office/drawing/2014/main" id="{7E6C7FE4-A079-3943-ABEC-F1674A92041B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0" name="Freeform 79">
                <a:extLst>
                  <a:ext uri="{FF2B5EF4-FFF2-40B4-BE49-F238E27FC236}">
                    <a16:creationId xmlns:a16="http://schemas.microsoft.com/office/drawing/2014/main" id="{760DB7B3-96B0-E044-A8A5-C2F296EC9B04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1" name="Freeform 80">
                <a:extLst>
                  <a:ext uri="{FF2B5EF4-FFF2-40B4-BE49-F238E27FC236}">
                    <a16:creationId xmlns:a16="http://schemas.microsoft.com/office/drawing/2014/main" id="{E6EC96EE-6299-3441-8735-ED8ED6ABD323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2" name="Freeform 81">
                <a:extLst>
                  <a:ext uri="{FF2B5EF4-FFF2-40B4-BE49-F238E27FC236}">
                    <a16:creationId xmlns:a16="http://schemas.microsoft.com/office/drawing/2014/main" id="{E70779E8-777F-8544-991A-0F2A009F1A74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3" name="Freeform 82">
                <a:extLst>
                  <a:ext uri="{FF2B5EF4-FFF2-40B4-BE49-F238E27FC236}">
                    <a16:creationId xmlns:a16="http://schemas.microsoft.com/office/drawing/2014/main" id="{CE80CC0D-0A66-134B-BF15-ECAAF54AED67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4" name="Freeform 83">
                <a:extLst>
                  <a:ext uri="{FF2B5EF4-FFF2-40B4-BE49-F238E27FC236}">
                    <a16:creationId xmlns:a16="http://schemas.microsoft.com/office/drawing/2014/main" id="{75E05906-62E0-F245-9A6B-AB72022E2C8E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85" name="Freeform 84">
                <a:extLst>
                  <a:ext uri="{FF2B5EF4-FFF2-40B4-BE49-F238E27FC236}">
                    <a16:creationId xmlns:a16="http://schemas.microsoft.com/office/drawing/2014/main" id="{C3E9347E-8875-C843-8C2B-7B770FE6F2CC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  <p:grpSp>
          <p:nvGrpSpPr>
            <p:cNvPr id="73" name="Graphic 35">
              <a:extLst>
                <a:ext uri="{FF2B5EF4-FFF2-40B4-BE49-F238E27FC236}">
                  <a16:creationId xmlns:a16="http://schemas.microsoft.com/office/drawing/2014/main" id="{6DE75B0B-5793-384D-A24C-C9ED501E3559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4"/>
              <a:chOff x="3066288" y="3109656"/>
              <a:chExt cx="812220" cy="557934"/>
            </a:xfrm>
            <a:grpFill/>
          </p:grpSpPr>
          <p:sp>
            <p:nvSpPr>
              <p:cNvPr id="74" name="Freeform 73">
                <a:extLst>
                  <a:ext uri="{FF2B5EF4-FFF2-40B4-BE49-F238E27FC236}">
                    <a16:creationId xmlns:a16="http://schemas.microsoft.com/office/drawing/2014/main" id="{A9CA5135-D618-CF40-A778-7DD14578EF68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  <p:sp>
            <p:nvSpPr>
              <p:cNvPr id="75" name="Freeform 74">
                <a:extLst>
                  <a:ext uri="{FF2B5EF4-FFF2-40B4-BE49-F238E27FC236}">
                    <a16:creationId xmlns:a16="http://schemas.microsoft.com/office/drawing/2014/main" id="{A7BF2A65-7BDB-B34B-B4DA-D0E7888AE819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sv-SE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6853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852" r:id="rId16"/>
    <p:sldLayoutId id="2147483853" r:id="rId17"/>
    <p:sldLayoutId id="2147483855" r:id="rId1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 spc="-50" baseline="0">
          <a:solidFill>
            <a:schemeClr val="tx1"/>
          </a:solidFill>
          <a:latin typeface="News Gothic MT" panose="020B0503020103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b="0" i="0" kern="1200" spc="-50" baseline="0">
          <a:solidFill>
            <a:schemeClr val="tx1"/>
          </a:solidFill>
          <a:latin typeface="News Gothic MT" panose="020B0503020103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29">
          <p15:clr>
            <a:srgbClr val="F26B43"/>
          </p15:clr>
        </p15:guide>
        <p15:guide id="2" pos="7151">
          <p15:clr>
            <a:srgbClr val="F26B43"/>
          </p15:clr>
        </p15:guide>
        <p15:guide id="3" pos="211">
          <p15:clr>
            <a:srgbClr val="9FCC3B"/>
          </p15:clr>
        </p15:guide>
        <p15:guide id="4" pos="7469">
          <p15:clr>
            <a:srgbClr val="9FCC3B"/>
          </p15:clr>
        </p15:guide>
        <p15:guide id="5" pos="3840">
          <p15:clr>
            <a:srgbClr val="A4A3A4"/>
          </p15:clr>
        </p15:guide>
        <p15:guide id="6" pos="3908">
          <p15:clr>
            <a:srgbClr val="9FCC3B"/>
          </p15:clr>
        </p15:guide>
        <p15:guide id="7" pos="3772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35.xml"/><Relationship Id="rId7" Type="http://schemas.openxmlformats.org/officeDocument/2006/relationships/oleObject" Target="../embeddings/oleObject12.bin"/><Relationship Id="rId12" Type="http://schemas.openxmlformats.org/officeDocument/2006/relationships/image" Target="../media/image15.svg"/><Relationship Id="rId2" Type="http://schemas.openxmlformats.org/officeDocument/2006/relationships/tags" Target="../tags/tag34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14.png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13.svg"/><Relationship Id="rId4" Type="http://schemas.openxmlformats.org/officeDocument/2006/relationships/tags" Target="../tags/tag36.xml"/><Relationship Id="rId9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72C40FD9-1DAA-FF49-A25C-2AAD7E03D105}"/>
              </a:ext>
            </a:extLst>
          </p:cNvPr>
          <p:cNvSpPr/>
          <p:nvPr/>
        </p:nvSpPr>
        <p:spPr>
          <a:xfrm>
            <a:off x="10315687" y="3264688"/>
            <a:ext cx="1374562" cy="98681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5767ABE-93CC-4227-863C-3C4F6E6607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3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5767ABE-93CC-4227-863C-3C4F6E660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A00A481-EA55-48A7-B1EC-6038867A1EA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200" b="1" i="0" u="none" strike="noStrike" kern="1200" cap="none" spc="0" normalizeH="0" baseline="0" noProof="0" err="1">
              <a:ln>
                <a:noFill/>
              </a:ln>
              <a:solidFill>
                <a:srgbClr val="222E3A"/>
              </a:solidFill>
              <a:effectLst/>
              <a:uLnTx/>
              <a:uFillTx/>
              <a:latin typeface="News Gothic MT" panose="020B0504020203020204" pitchFamily="34" charset="0"/>
              <a:ea typeface="+mn-ea"/>
              <a:cs typeface="+mn-cs"/>
              <a:sym typeface="News Gothic MT" panose="020B05040202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97E7BDC-6362-4572-B019-581309391D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258101"/>
            <a:ext cx="9584372" cy="2025683"/>
          </a:xfrm>
        </p:spPr>
        <p:txBody>
          <a:bodyPr>
            <a:normAutofit/>
          </a:bodyPr>
          <a:lstStyle/>
          <a:p>
            <a:r>
              <a:rPr lang="en-US" sz="4000" dirty="0"/>
              <a:t>H2 Green Steel: a large-scale CO</a:t>
            </a:r>
            <a:r>
              <a:rPr lang="en-GB" sz="4000" baseline="-25000" dirty="0"/>
              <a:t>2</a:t>
            </a:r>
            <a:r>
              <a:rPr lang="en-US" sz="4000" dirty="0"/>
              <a:t>-free steel plant built on partnerships</a:t>
            </a:r>
            <a:br>
              <a:rPr lang="en-US" sz="4000" dirty="0"/>
            </a:br>
            <a:endParaRPr lang="en-US" sz="4000" dirty="0"/>
          </a:p>
        </p:txBody>
      </p:sp>
      <p:sp>
        <p:nvSpPr>
          <p:cNvPr id="139" name="Platshållare för bildnummer 2">
            <a:extLst>
              <a:ext uri="{FF2B5EF4-FFF2-40B4-BE49-F238E27FC236}">
                <a16:creationId xmlns:a16="http://schemas.microsoft.com/office/drawing/2014/main" id="{4B29707E-0DF5-EA40-AEF5-D9334810BD4C}"/>
              </a:ext>
            </a:extLst>
          </p:cNvPr>
          <p:cNvSpPr txBox="1">
            <a:spLocks/>
          </p:cNvSpPr>
          <p:nvPr/>
        </p:nvSpPr>
        <p:spPr>
          <a:xfrm>
            <a:off x="310901" y="6364371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l" defTabSz="914400" rtl="0" eaLnBrk="1" latinLnBrk="0" hangingPunct="1">
              <a:defRPr sz="800" b="0" i="0" kern="1200">
                <a:solidFill>
                  <a:schemeClr val="tx1"/>
                </a:solidFill>
                <a:latin typeface="News Gothic MT" panose="020B0503020103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B01FC4-7955-D449-9DAF-9B8EE363BB6A}" type="slidenum">
              <a:rPr lang="en-GB" smtClean="0"/>
              <a:pPr/>
              <a:t>1</a:t>
            </a:fld>
            <a:endParaRPr lang="en-GB"/>
          </a:p>
        </p:txBody>
      </p:sp>
      <p:grpSp>
        <p:nvGrpSpPr>
          <p:cNvPr id="237" name="Group 18">
            <a:extLst>
              <a:ext uri="{FF2B5EF4-FFF2-40B4-BE49-F238E27FC236}">
                <a16:creationId xmlns:a16="http://schemas.microsoft.com/office/drawing/2014/main" id="{E2531DA6-9C52-5D47-9D48-E7E43435C780}"/>
              </a:ext>
            </a:extLst>
          </p:cNvPr>
          <p:cNvGrpSpPr/>
          <p:nvPr/>
        </p:nvGrpSpPr>
        <p:grpSpPr>
          <a:xfrm>
            <a:off x="1103365" y="1988699"/>
            <a:ext cx="812041" cy="415143"/>
            <a:chOff x="336000" y="2552737"/>
            <a:chExt cx="733918" cy="361914"/>
          </a:xfrm>
          <a:noFill/>
        </p:grpSpPr>
        <p:sp>
          <p:nvSpPr>
            <p:cNvPr id="238" name="Trapezoid 19">
              <a:extLst>
                <a:ext uri="{FF2B5EF4-FFF2-40B4-BE49-F238E27FC236}">
                  <a16:creationId xmlns:a16="http://schemas.microsoft.com/office/drawing/2014/main" id="{12F2056E-BC9A-3740-B964-0A8684F34A6E}"/>
                </a:ext>
              </a:extLst>
            </p:cNvPr>
            <p:cNvSpPr/>
            <p:nvPr/>
          </p:nvSpPr>
          <p:spPr>
            <a:xfrm>
              <a:off x="336000" y="2552737"/>
              <a:ext cx="489024" cy="305974"/>
            </a:xfrm>
            <a:prstGeom prst="trapezoid">
              <a:avLst/>
            </a:pr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9" name="Trapezoid 20">
              <a:extLst>
                <a:ext uri="{FF2B5EF4-FFF2-40B4-BE49-F238E27FC236}">
                  <a16:creationId xmlns:a16="http://schemas.microsoft.com/office/drawing/2014/main" id="{E68AB351-D71D-9D4E-94AE-8D2F34936552}"/>
                </a:ext>
              </a:extLst>
            </p:cNvPr>
            <p:cNvSpPr>
              <a:spLocks/>
            </p:cNvSpPr>
            <p:nvPr/>
          </p:nvSpPr>
          <p:spPr>
            <a:xfrm>
              <a:off x="771899" y="2636514"/>
              <a:ext cx="192472" cy="130782"/>
            </a:xfrm>
            <a:prstGeom prst="trapezoid">
              <a:avLst/>
            </a:pr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0" name="Trapezoid 21">
              <a:extLst>
                <a:ext uri="{FF2B5EF4-FFF2-40B4-BE49-F238E27FC236}">
                  <a16:creationId xmlns:a16="http://schemas.microsoft.com/office/drawing/2014/main" id="{48973578-AB9C-8648-802E-497F6B473161}"/>
                </a:ext>
              </a:extLst>
            </p:cNvPr>
            <p:cNvSpPr>
              <a:spLocks/>
            </p:cNvSpPr>
            <p:nvPr/>
          </p:nvSpPr>
          <p:spPr>
            <a:xfrm>
              <a:off x="877446" y="2767296"/>
              <a:ext cx="192472" cy="130782"/>
            </a:xfrm>
            <a:prstGeom prst="trapezoid">
              <a:avLst/>
            </a:pr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1" name="Trapezoid 23">
              <a:extLst>
                <a:ext uri="{FF2B5EF4-FFF2-40B4-BE49-F238E27FC236}">
                  <a16:creationId xmlns:a16="http://schemas.microsoft.com/office/drawing/2014/main" id="{D09818A5-F28C-024E-9B12-4AA66848CC9C}"/>
                </a:ext>
              </a:extLst>
            </p:cNvPr>
            <p:cNvSpPr>
              <a:spLocks/>
            </p:cNvSpPr>
            <p:nvPr/>
          </p:nvSpPr>
          <p:spPr>
            <a:xfrm>
              <a:off x="676434" y="2750723"/>
              <a:ext cx="241253" cy="163928"/>
            </a:xfrm>
            <a:prstGeom prst="trapezoid">
              <a:avLst/>
            </a:pr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42" name="TextBox 25">
            <a:extLst>
              <a:ext uri="{FF2B5EF4-FFF2-40B4-BE49-F238E27FC236}">
                <a16:creationId xmlns:a16="http://schemas.microsoft.com/office/drawing/2014/main" id="{1FEC589E-FEF9-2149-B947-138CACFE26FE}"/>
              </a:ext>
            </a:extLst>
          </p:cNvPr>
          <p:cNvSpPr txBox="1"/>
          <p:nvPr/>
        </p:nvSpPr>
        <p:spPr>
          <a:xfrm>
            <a:off x="711154" y="2580181"/>
            <a:ext cx="1596463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5760" lvl="2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3pPr>
            <a:lvl4pPr marL="548640" lvl="3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4pPr>
            <a:lvl5pPr marL="731520" lvl="4" indent="-180054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en-US" sz="1200">
                <a:solidFill>
                  <a:srgbClr val="FFFFFF"/>
                </a:solidFill>
              </a:rPr>
              <a:t>High-quality DR </a:t>
            </a:r>
            <a:br>
              <a:rPr lang="en-US" sz="1200">
                <a:solidFill>
                  <a:srgbClr val="FFFFFF"/>
                </a:solidFill>
              </a:rPr>
            </a:br>
            <a:r>
              <a:rPr lang="en-US" sz="1200">
                <a:solidFill>
                  <a:srgbClr val="FFFFFF"/>
                </a:solidFill>
              </a:rPr>
              <a:t>Iron Ore Pellets </a:t>
            </a:r>
          </a:p>
        </p:txBody>
      </p:sp>
      <p:grpSp>
        <p:nvGrpSpPr>
          <p:cNvPr id="243" name="Group 29">
            <a:extLst>
              <a:ext uri="{FF2B5EF4-FFF2-40B4-BE49-F238E27FC236}">
                <a16:creationId xmlns:a16="http://schemas.microsoft.com/office/drawing/2014/main" id="{7885682D-DC35-B247-9AC8-EC0094FE3966}"/>
              </a:ext>
            </a:extLst>
          </p:cNvPr>
          <p:cNvGrpSpPr/>
          <p:nvPr/>
        </p:nvGrpSpPr>
        <p:grpSpPr>
          <a:xfrm>
            <a:off x="931229" y="4251849"/>
            <a:ext cx="1053020" cy="899934"/>
            <a:chOff x="549455" y="4492112"/>
            <a:chExt cx="846286" cy="717142"/>
          </a:xfrm>
          <a:noFill/>
        </p:grpSpPr>
        <p:sp>
          <p:nvSpPr>
            <p:cNvPr id="244" name="Freeform 15">
              <a:extLst>
                <a:ext uri="{FF2B5EF4-FFF2-40B4-BE49-F238E27FC236}">
                  <a16:creationId xmlns:a16="http://schemas.microsoft.com/office/drawing/2014/main" id="{1425BC83-28F4-B24D-8C66-FEFC17CABB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2840" y="4492112"/>
              <a:ext cx="402901" cy="510291"/>
            </a:xfrm>
            <a:custGeom>
              <a:avLst/>
              <a:gdLst>
                <a:gd name="T0" fmla="*/ 140 w 285"/>
                <a:gd name="T1" fmla="*/ 173 h 410"/>
                <a:gd name="T2" fmla="*/ 215 w 285"/>
                <a:gd name="T3" fmla="*/ 172 h 410"/>
                <a:gd name="T4" fmla="*/ 283 w 285"/>
                <a:gd name="T5" fmla="*/ 205 h 410"/>
                <a:gd name="T6" fmla="*/ 208 w 285"/>
                <a:gd name="T7" fmla="*/ 205 h 410"/>
                <a:gd name="T8" fmla="*/ 140 w 285"/>
                <a:gd name="T9" fmla="*/ 173 h 410"/>
                <a:gd name="T10" fmla="*/ 25 w 285"/>
                <a:gd name="T11" fmla="*/ 410 h 410"/>
                <a:gd name="T12" fmla="*/ 223 w 285"/>
                <a:gd name="T13" fmla="*/ 410 h 410"/>
                <a:gd name="T14" fmla="*/ 242 w 285"/>
                <a:gd name="T15" fmla="*/ 390 h 410"/>
                <a:gd name="T16" fmla="*/ 242 w 285"/>
                <a:gd name="T17" fmla="*/ 380 h 410"/>
                <a:gd name="T18" fmla="*/ 223 w 285"/>
                <a:gd name="T19" fmla="*/ 360 h 410"/>
                <a:gd name="T20" fmla="*/ 124 w 285"/>
                <a:gd name="T21" fmla="*/ 360 h 410"/>
                <a:gd name="T22" fmla="*/ 124 w 285"/>
                <a:gd name="T23" fmla="*/ 193 h 410"/>
                <a:gd name="T24" fmla="*/ 111 w 285"/>
                <a:gd name="T25" fmla="*/ 201 h 410"/>
                <a:gd name="T26" fmla="*/ 108 w 285"/>
                <a:gd name="T27" fmla="*/ 201 h 410"/>
                <a:gd name="T28" fmla="*/ 97 w 285"/>
                <a:gd name="T29" fmla="*/ 233 h 410"/>
                <a:gd name="T30" fmla="*/ 97 w 285"/>
                <a:gd name="T31" fmla="*/ 360 h 410"/>
                <a:gd name="T32" fmla="*/ 25 w 285"/>
                <a:gd name="T33" fmla="*/ 360 h 410"/>
                <a:gd name="T34" fmla="*/ 6 w 285"/>
                <a:gd name="T35" fmla="*/ 380 h 410"/>
                <a:gd name="T36" fmla="*/ 6 w 285"/>
                <a:gd name="T37" fmla="*/ 390 h 410"/>
                <a:gd name="T38" fmla="*/ 25 w 285"/>
                <a:gd name="T39" fmla="*/ 410 h 410"/>
                <a:gd name="T40" fmla="*/ 111 w 285"/>
                <a:gd name="T41" fmla="*/ 181 h 410"/>
                <a:gd name="T42" fmla="*/ 95 w 285"/>
                <a:gd name="T43" fmla="*/ 166 h 410"/>
                <a:gd name="T44" fmla="*/ 111 w 285"/>
                <a:gd name="T45" fmla="*/ 150 h 410"/>
                <a:gd name="T46" fmla="*/ 126 w 285"/>
                <a:gd name="T47" fmla="*/ 166 h 410"/>
                <a:gd name="T48" fmla="*/ 111 w 285"/>
                <a:gd name="T49" fmla="*/ 181 h 410"/>
                <a:gd name="T50" fmla="*/ 97 w 285"/>
                <a:gd name="T51" fmla="*/ 138 h 410"/>
                <a:gd name="T52" fmla="*/ 53 w 285"/>
                <a:gd name="T53" fmla="*/ 77 h 410"/>
                <a:gd name="T54" fmla="*/ 40 w 285"/>
                <a:gd name="T55" fmla="*/ 3 h 410"/>
                <a:gd name="T56" fmla="*/ 84 w 285"/>
                <a:gd name="T57" fmla="*/ 64 h 410"/>
                <a:gd name="T58" fmla="*/ 97 w 285"/>
                <a:gd name="T59" fmla="*/ 138 h 410"/>
                <a:gd name="T60" fmla="*/ 92 w 285"/>
                <a:gd name="T61" fmla="*/ 190 h 410"/>
                <a:gd name="T62" fmla="*/ 64 w 285"/>
                <a:gd name="T63" fmla="*/ 260 h 410"/>
                <a:gd name="T64" fmla="*/ 8 w 285"/>
                <a:gd name="T65" fmla="*/ 310 h 410"/>
                <a:gd name="T66" fmla="*/ 36 w 285"/>
                <a:gd name="T67" fmla="*/ 240 h 410"/>
                <a:gd name="T68" fmla="*/ 92 w 285"/>
                <a:gd name="T69" fmla="*/ 1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5" h="410">
                  <a:moveTo>
                    <a:pt x="140" y="173"/>
                  </a:moveTo>
                  <a:cubicBezTo>
                    <a:pt x="142" y="163"/>
                    <a:pt x="176" y="163"/>
                    <a:pt x="215" y="172"/>
                  </a:cubicBezTo>
                  <a:cubicBezTo>
                    <a:pt x="255" y="181"/>
                    <a:pt x="285" y="195"/>
                    <a:pt x="283" y="205"/>
                  </a:cubicBezTo>
                  <a:cubicBezTo>
                    <a:pt x="281" y="214"/>
                    <a:pt x="247" y="214"/>
                    <a:pt x="208" y="205"/>
                  </a:cubicBezTo>
                  <a:cubicBezTo>
                    <a:pt x="169" y="196"/>
                    <a:pt x="138" y="182"/>
                    <a:pt x="140" y="173"/>
                  </a:cubicBezTo>
                  <a:close/>
                  <a:moveTo>
                    <a:pt x="25" y="410"/>
                  </a:moveTo>
                  <a:cubicBezTo>
                    <a:pt x="223" y="410"/>
                    <a:pt x="223" y="410"/>
                    <a:pt x="223" y="410"/>
                  </a:cubicBezTo>
                  <a:cubicBezTo>
                    <a:pt x="233" y="410"/>
                    <a:pt x="242" y="401"/>
                    <a:pt x="242" y="390"/>
                  </a:cubicBezTo>
                  <a:cubicBezTo>
                    <a:pt x="242" y="380"/>
                    <a:pt x="242" y="380"/>
                    <a:pt x="242" y="380"/>
                  </a:cubicBezTo>
                  <a:cubicBezTo>
                    <a:pt x="242" y="369"/>
                    <a:pt x="233" y="360"/>
                    <a:pt x="223" y="360"/>
                  </a:cubicBezTo>
                  <a:cubicBezTo>
                    <a:pt x="124" y="360"/>
                    <a:pt x="124" y="360"/>
                    <a:pt x="124" y="360"/>
                  </a:cubicBezTo>
                  <a:cubicBezTo>
                    <a:pt x="124" y="193"/>
                    <a:pt x="124" y="193"/>
                    <a:pt x="124" y="193"/>
                  </a:cubicBezTo>
                  <a:cubicBezTo>
                    <a:pt x="122" y="198"/>
                    <a:pt x="116" y="201"/>
                    <a:pt x="111" y="201"/>
                  </a:cubicBezTo>
                  <a:cubicBezTo>
                    <a:pt x="110" y="201"/>
                    <a:pt x="109" y="201"/>
                    <a:pt x="108" y="201"/>
                  </a:cubicBezTo>
                  <a:cubicBezTo>
                    <a:pt x="108" y="208"/>
                    <a:pt x="104" y="219"/>
                    <a:pt x="97" y="233"/>
                  </a:cubicBezTo>
                  <a:cubicBezTo>
                    <a:pt x="97" y="360"/>
                    <a:pt x="97" y="360"/>
                    <a:pt x="97" y="360"/>
                  </a:cubicBezTo>
                  <a:cubicBezTo>
                    <a:pt x="25" y="360"/>
                    <a:pt x="25" y="360"/>
                    <a:pt x="25" y="360"/>
                  </a:cubicBezTo>
                  <a:cubicBezTo>
                    <a:pt x="15" y="360"/>
                    <a:pt x="6" y="369"/>
                    <a:pt x="6" y="380"/>
                  </a:cubicBezTo>
                  <a:cubicBezTo>
                    <a:pt x="6" y="390"/>
                    <a:pt x="6" y="390"/>
                    <a:pt x="6" y="390"/>
                  </a:cubicBezTo>
                  <a:cubicBezTo>
                    <a:pt x="6" y="401"/>
                    <a:pt x="15" y="410"/>
                    <a:pt x="25" y="410"/>
                  </a:cubicBezTo>
                  <a:close/>
                  <a:moveTo>
                    <a:pt x="111" y="181"/>
                  </a:moveTo>
                  <a:cubicBezTo>
                    <a:pt x="102" y="181"/>
                    <a:pt x="95" y="174"/>
                    <a:pt x="95" y="166"/>
                  </a:cubicBezTo>
                  <a:cubicBezTo>
                    <a:pt x="95" y="157"/>
                    <a:pt x="102" y="150"/>
                    <a:pt x="111" y="150"/>
                  </a:cubicBezTo>
                  <a:cubicBezTo>
                    <a:pt x="119" y="150"/>
                    <a:pt x="126" y="157"/>
                    <a:pt x="126" y="166"/>
                  </a:cubicBezTo>
                  <a:cubicBezTo>
                    <a:pt x="126" y="174"/>
                    <a:pt x="119" y="181"/>
                    <a:pt x="111" y="181"/>
                  </a:cubicBezTo>
                  <a:close/>
                  <a:moveTo>
                    <a:pt x="97" y="138"/>
                  </a:moveTo>
                  <a:cubicBezTo>
                    <a:pt x="88" y="142"/>
                    <a:pt x="69" y="115"/>
                    <a:pt x="53" y="77"/>
                  </a:cubicBezTo>
                  <a:cubicBezTo>
                    <a:pt x="37" y="40"/>
                    <a:pt x="32" y="7"/>
                    <a:pt x="40" y="3"/>
                  </a:cubicBezTo>
                  <a:cubicBezTo>
                    <a:pt x="49" y="0"/>
                    <a:pt x="69" y="27"/>
                    <a:pt x="84" y="64"/>
                  </a:cubicBezTo>
                  <a:cubicBezTo>
                    <a:pt x="100" y="101"/>
                    <a:pt x="106" y="135"/>
                    <a:pt x="97" y="138"/>
                  </a:cubicBezTo>
                  <a:close/>
                  <a:moveTo>
                    <a:pt x="92" y="190"/>
                  </a:moveTo>
                  <a:cubicBezTo>
                    <a:pt x="100" y="195"/>
                    <a:pt x="87" y="227"/>
                    <a:pt x="64" y="260"/>
                  </a:cubicBezTo>
                  <a:cubicBezTo>
                    <a:pt x="41" y="293"/>
                    <a:pt x="16" y="315"/>
                    <a:pt x="8" y="310"/>
                  </a:cubicBezTo>
                  <a:cubicBezTo>
                    <a:pt x="0" y="305"/>
                    <a:pt x="13" y="273"/>
                    <a:pt x="36" y="240"/>
                  </a:cubicBezTo>
                  <a:cubicBezTo>
                    <a:pt x="59" y="207"/>
                    <a:pt x="84" y="185"/>
                    <a:pt x="92" y="19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45" name="CustomIcon">
              <a:extLst>
                <a:ext uri="{FF2B5EF4-FFF2-40B4-BE49-F238E27FC236}">
                  <a16:creationId xmlns:a16="http://schemas.microsoft.com/office/drawing/2014/main" id="{B4DB522C-68BA-3449-8F3A-71A9AD36F2FC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49455" y="4719040"/>
              <a:ext cx="381885" cy="393031"/>
            </a:xfrm>
            <a:prstGeom prst="rect">
              <a:avLst/>
            </a:prstGeom>
          </p:spPr>
        </p:pic>
        <p:sp>
          <p:nvSpPr>
            <p:cNvPr id="246" name="Freeform 15">
              <a:extLst>
                <a:ext uri="{FF2B5EF4-FFF2-40B4-BE49-F238E27FC236}">
                  <a16:creationId xmlns:a16="http://schemas.microsoft.com/office/drawing/2014/main" id="{1DD86E51-3C53-D049-B0AF-F3D234EB6C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3442" y="4698963"/>
              <a:ext cx="402901" cy="510291"/>
            </a:xfrm>
            <a:custGeom>
              <a:avLst/>
              <a:gdLst>
                <a:gd name="T0" fmla="*/ 140 w 285"/>
                <a:gd name="T1" fmla="*/ 173 h 410"/>
                <a:gd name="T2" fmla="*/ 215 w 285"/>
                <a:gd name="T3" fmla="*/ 172 h 410"/>
                <a:gd name="T4" fmla="*/ 283 w 285"/>
                <a:gd name="T5" fmla="*/ 205 h 410"/>
                <a:gd name="T6" fmla="*/ 208 w 285"/>
                <a:gd name="T7" fmla="*/ 205 h 410"/>
                <a:gd name="T8" fmla="*/ 140 w 285"/>
                <a:gd name="T9" fmla="*/ 173 h 410"/>
                <a:gd name="T10" fmla="*/ 25 w 285"/>
                <a:gd name="T11" fmla="*/ 410 h 410"/>
                <a:gd name="T12" fmla="*/ 223 w 285"/>
                <a:gd name="T13" fmla="*/ 410 h 410"/>
                <a:gd name="T14" fmla="*/ 242 w 285"/>
                <a:gd name="T15" fmla="*/ 390 h 410"/>
                <a:gd name="T16" fmla="*/ 242 w 285"/>
                <a:gd name="T17" fmla="*/ 380 h 410"/>
                <a:gd name="T18" fmla="*/ 223 w 285"/>
                <a:gd name="T19" fmla="*/ 360 h 410"/>
                <a:gd name="T20" fmla="*/ 124 w 285"/>
                <a:gd name="T21" fmla="*/ 360 h 410"/>
                <a:gd name="T22" fmla="*/ 124 w 285"/>
                <a:gd name="T23" fmla="*/ 193 h 410"/>
                <a:gd name="T24" fmla="*/ 111 w 285"/>
                <a:gd name="T25" fmla="*/ 201 h 410"/>
                <a:gd name="T26" fmla="*/ 108 w 285"/>
                <a:gd name="T27" fmla="*/ 201 h 410"/>
                <a:gd name="T28" fmla="*/ 97 w 285"/>
                <a:gd name="T29" fmla="*/ 233 h 410"/>
                <a:gd name="T30" fmla="*/ 97 w 285"/>
                <a:gd name="T31" fmla="*/ 360 h 410"/>
                <a:gd name="T32" fmla="*/ 25 w 285"/>
                <a:gd name="T33" fmla="*/ 360 h 410"/>
                <a:gd name="T34" fmla="*/ 6 w 285"/>
                <a:gd name="T35" fmla="*/ 380 h 410"/>
                <a:gd name="T36" fmla="*/ 6 w 285"/>
                <a:gd name="T37" fmla="*/ 390 h 410"/>
                <a:gd name="T38" fmla="*/ 25 w 285"/>
                <a:gd name="T39" fmla="*/ 410 h 410"/>
                <a:gd name="T40" fmla="*/ 111 w 285"/>
                <a:gd name="T41" fmla="*/ 181 h 410"/>
                <a:gd name="T42" fmla="*/ 95 w 285"/>
                <a:gd name="T43" fmla="*/ 166 h 410"/>
                <a:gd name="T44" fmla="*/ 111 w 285"/>
                <a:gd name="T45" fmla="*/ 150 h 410"/>
                <a:gd name="T46" fmla="*/ 126 w 285"/>
                <a:gd name="T47" fmla="*/ 166 h 410"/>
                <a:gd name="T48" fmla="*/ 111 w 285"/>
                <a:gd name="T49" fmla="*/ 181 h 410"/>
                <a:gd name="T50" fmla="*/ 97 w 285"/>
                <a:gd name="T51" fmla="*/ 138 h 410"/>
                <a:gd name="T52" fmla="*/ 53 w 285"/>
                <a:gd name="T53" fmla="*/ 77 h 410"/>
                <a:gd name="T54" fmla="*/ 40 w 285"/>
                <a:gd name="T55" fmla="*/ 3 h 410"/>
                <a:gd name="T56" fmla="*/ 84 w 285"/>
                <a:gd name="T57" fmla="*/ 64 h 410"/>
                <a:gd name="T58" fmla="*/ 97 w 285"/>
                <a:gd name="T59" fmla="*/ 138 h 410"/>
                <a:gd name="T60" fmla="*/ 92 w 285"/>
                <a:gd name="T61" fmla="*/ 190 h 410"/>
                <a:gd name="T62" fmla="*/ 64 w 285"/>
                <a:gd name="T63" fmla="*/ 260 h 410"/>
                <a:gd name="T64" fmla="*/ 8 w 285"/>
                <a:gd name="T65" fmla="*/ 310 h 410"/>
                <a:gd name="T66" fmla="*/ 36 w 285"/>
                <a:gd name="T67" fmla="*/ 240 h 410"/>
                <a:gd name="T68" fmla="*/ 92 w 285"/>
                <a:gd name="T69" fmla="*/ 190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85" h="410">
                  <a:moveTo>
                    <a:pt x="140" y="173"/>
                  </a:moveTo>
                  <a:cubicBezTo>
                    <a:pt x="142" y="163"/>
                    <a:pt x="176" y="163"/>
                    <a:pt x="215" y="172"/>
                  </a:cubicBezTo>
                  <a:cubicBezTo>
                    <a:pt x="255" y="181"/>
                    <a:pt x="285" y="195"/>
                    <a:pt x="283" y="205"/>
                  </a:cubicBezTo>
                  <a:cubicBezTo>
                    <a:pt x="281" y="214"/>
                    <a:pt x="247" y="214"/>
                    <a:pt x="208" y="205"/>
                  </a:cubicBezTo>
                  <a:cubicBezTo>
                    <a:pt x="169" y="196"/>
                    <a:pt x="138" y="182"/>
                    <a:pt x="140" y="173"/>
                  </a:cubicBezTo>
                  <a:close/>
                  <a:moveTo>
                    <a:pt x="25" y="410"/>
                  </a:moveTo>
                  <a:cubicBezTo>
                    <a:pt x="223" y="410"/>
                    <a:pt x="223" y="410"/>
                    <a:pt x="223" y="410"/>
                  </a:cubicBezTo>
                  <a:cubicBezTo>
                    <a:pt x="233" y="410"/>
                    <a:pt x="242" y="401"/>
                    <a:pt x="242" y="390"/>
                  </a:cubicBezTo>
                  <a:cubicBezTo>
                    <a:pt x="242" y="380"/>
                    <a:pt x="242" y="380"/>
                    <a:pt x="242" y="380"/>
                  </a:cubicBezTo>
                  <a:cubicBezTo>
                    <a:pt x="242" y="369"/>
                    <a:pt x="233" y="360"/>
                    <a:pt x="223" y="360"/>
                  </a:cubicBezTo>
                  <a:cubicBezTo>
                    <a:pt x="124" y="360"/>
                    <a:pt x="124" y="360"/>
                    <a:pt x="124" y="360"/>
                  </a:cubicBezTo>
                  <a:cubicBezTo>
                    <a:pt x="124" y="193"/>
                    <a:pt x="124" y="193"/>
                    <a:pt x="124" y="193"/>
                  </a:cubicBezTo>
                  <a:cubicBezTo>
                    <a:pt x="122" y="198"/>
                    <a:pt x="116" y="201"/>
                    <a:pt x="111" y="201"/>
                  </a:cubicBezTo>
                  <a:cubicBezTo>
                    <a:pt x="110" y="201"/>
                    <a:pt x="109" y="201"/>
                    <a:pt x="108" y="201"/>
                  </a:cubicBezTo>
                  <a:cubicBezTo>
                    <a:pt x="108" y="208"/>
                    <a:pt x="104" y="219"/>
                    <a:pt x="97" y="233"/>
                  </a:cubicBezTo>
                  <a:cubicBezTo>
                    <a:pt x="97" y="360"/>
                    <a:pt x="97" y="360"/>
                    <a:pt x="97" y="360"/>
                  </a:cubicBezTo>
                  <a:cubicBezTo>
                    <a:pt x="25" y="360"/>
                    <a:pt x="25" y="360"/>
                    <a:pt x="25" y="360"/>
                  </a:cubicBezTo>
                  <a:cubicBezTo>
                    <a:pt x="15" y="360"/>
                    <a:pt x="6" y="369"/>
                    <a:pt x="6" y="380"/>
                  </a:cubicBezTo>
                  <a:cubicBezTo>
                    <a:pt x="6" y="390"/>
                    <a:pt x="6" y="390"/>
                    <a:pt x="6" y="390"/>
                  </a:cubicBezTo>
                  <a:cubicBezTo>
                    <a:pt x="6" y="401"/>
                    <a:pt x="15" y="410"/>
                    <a:pt x="25" y="410"/>
                  </a:cubicBezTo>
                  <a:close/>
                  <a:moveTo>
                    <a:pt x="111" y="181"/>
                  </a:moveTo>
                  <a:cubicBezTo>
                    <a:pt x="102" y="181"/>
                    <a:pt x="95" y="174"/>
                    <a:pt x="95" y="166"/>
                  </a:cubicBezTo>
                  <a:cubicBezTo>
                    <a:pt x="95" y="157"/>
                    <a:pt x="102" y="150"/>
                    <a:pt x="111" y="150"/>
                  </a:cubicBezTo>
                  <a:cubicBezTo>
                    <a:pt x="119" y="150"/>
                    <a:pt x="126" y="157"/>
                    <a:pt x="126" y="166"/>
                  </a:cubicBezTo>
                  <a:cubicBezTo>
                    <a:pt x="126" y="174"/>
                    <a:pt x="119" y="181"/>
                    <a:pt x="111" y="181"/>
                  </a:cubicBezTo>
                  <a:close/>
                  <a:moveTo>
                    <a:pt x="97" y="138"/>
                  </a:moveTo>
                  <a:cubicBezTo>
                    <a:pt x="88" y="142"/>
                    <a:pt x="69" y="115"/>
                    <a:pt x="53" y="77"/>
                  </a:cubicBezTo>
                  <a:cubicBezTo>
                    <a:pt x="37" y="40"/>
                    <a:pt x="32" y="7"/>
                    <a:pt x="40" y="3"/>
                  </a:cubicBezTo>
                  <a:cubicBezTo>
                    <a:pt x="49" y="0"/>
                    <a:pt x="69" y="27"/>
                    <a:pt x="84" y="64"/>
                  </a:cubicBezTo>
                  <a:cubicBezTo>
                    <a:pt x="100" y="101"/>
                    <a:pt x="106" y="135"/>
                    <a:pt x="97" y="138"/>
                  </a:cubicBezTo>
                  <a:close/>
                  <a:moveTo>
                    <a:pt x="92" y="190"/>
                  </a:moveTo>
                  <a:cubicBezTo>
                    <a:pt x="100" y="195"/>
                    <a:pt x="87" y="227"/>
                    <a:pt x="64" y="260"/>
                  </a:cubicBezTo>
                  <a:cubicBezTo>
                    <a:pt x="41" y="293"/>
                    <a:pt x="16" y="315"/>
                    <a:pt x="8" y="310"/>
                  </a:cubicBezTo>
                  <a:cubicBezTo>
                    <a:pt x="0" y="305"/>
                    <a:pt x="13" y="273"/>
                    <a:pt x="36" y="240"/>
                  </a:cubicBezTo>
                  <a:cubicBezTo>
                    <a:pt x="59" y="207"/>
                    <a:pt x="84" y="185"/>
                    <a:pt x="92" y="19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47" name="Cylinder 246">
            <a:extLst>
              <a:ext uri="{FF2B5EF4-FFF2-40B4-BE49-F238E27FC236}">
                <a16:creationId xmlns:a16="http://schemas.microsoft.com/office/drawing/2014/main" id="{3E56D69C-1AC0-6E40-AD92-A31BE4FD3F3F}"/>
              </a:ext>
            </a:extLst>
          </p:cNvPr>
          <p:cNvSpPr/>
          <p:nvPr/>
        </p:nvSpPr>
        <p:spPr>
          <a:xfrm>
            <a:off x="2513283" y="3665707"/>
            <a:ext cx="576383" cy="470277"/>
          </a:xfrm>
          <a:prstGeom prst="can">
            <a:avLst/>
          </a:prstGeom>
          <a:noFill/>
          <a:ln w="63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8" name="Cylinder 247">
            <a:extLst>
              <a:ext uri="{FF2B5EF4-FFF2-40B4-BE49-F238E27FC236}">
                <a16:creationId xmlns:a16="http://schemas.microsoft.com/office/drawing/2014/main" id="{0F3673CE-980D-F34B-8D40-A1246177226E}"/>
              </a:ext>
            </a:extLst>
          </p:cNvPr>
          <p:cNvSpPr/>
          <p:nvPr/>
        </p:nvSpPr>
        <p:spPr>
          <a:xfrm>
            <a:off x="2657893" y="3531777"/>
            <a:ext cx="79428" cy="194627"/>
          </a:xfrm>
          <a:prstGeom prst="can">
            <a:avLst>
              <a:gd name="adj" fmla="val 43367"/>
            </a:avLst>
          </a:prstGeom>
          <a:noFill/>
          <a:ln w="63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9" name="Cylinder 248">
            <a:extLst>
              <a:ext uri="{FF2B5EF4-FFF2-40B4-BE49-F238E27FC236}">
                <a16:creationId xmlns:a16="http://schemas.microsoft.com/office/drawing/2014/main" id="{BE34A6D3-7C0B-0C4B-A2B2-18DE6370D920}"/>
              </a:ext>
            </a:extLst>
          </p:cNvPr>
          <p:cNvSpPr/>
          <p:nvPr/>
        </p:nvSpPr>
        <p:spPr>
          <a:xfrm>
            <a:off x="2866112" y="3531777"/>
            <a:ext cx="79428" cy="194627"/>
          </a:xfrm>
          <a:prstGeom prst="can">
            <a:avLst>
              <a:gd name="adj" fmla="val 43367"/>
            </a:avLst>
          </a:prstGeom>
          <a:noFill/>
          <a:ln w="63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0" name="Oval 37">
            <a:extLst>
              <a:ext uri="{FF2B5EF4-FFF2-40B4-BE49-F238E27FC236}">
                <a16:creationId xmlns:a16="http://schemas.microsoft.com/office/drawing/2014/main" id="{AFC9F641-ABCB-AD46-BC02-320A60B37E00}"/>
              </a:ext>
            </a:extLst>
          </p:cNvPr>
          <p:cNvSpPr>
            <a:spLocks/>
          </p:cNvSpPr>
          <p:nvPr/>
        </p:nvSpPr>
        <p:spPr>
          <a:xfrm>
            <a:off x="2471987" y="3195760"/>
            <a:ext cx="285948" cy="309257"/>
          </a:xfrm>
          <a:prstGeom prst="ellipse">
            <a:avLst/>
          </a:prstGeom>
          <a:noFill/>
          <a:ln w="63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</a:t>
            </a:r>
            <a:r>
              <a:rPr kumimoji="0" lang="en-US" sz="1000" b="0" i="0" u="none" strike="noStrike" kern="0" cap="none" spc="0" normalizeH="0" baseline="-25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251" name="Oval 38">
            <a:extLst>
              <a:ext uri="{FF2B5EF4-FFF2-40B4-BE49-F238E27FC236}">
                <a16:creationId xmlns:a16="http://schemas.microsoft.com/office/drawing/2014/main" id="{72AD1FAC-ABC4-E347-BE85-7FC5971DE935}"/>
              </a:ext>
            </a:extLst>
          </p:cNvPr>
          <p:cNvSpPr>
            <a:spLocks/>
          </p:cNvSpPr>
          <p:nvPr/>
        </p:nvSpPr>
        <p:spPr>
          <a:xfrm>
            <a:off x="2815282" y="3195760"/>
            <a:ext cx="285948" cy="309257"/>
          </a:xfrm>
          <a:prstGeom prst="ellipse">
            <a:avLst/>
          </a:prstGeom>
          <a:noFill/>
          <a:ln w="63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wrap="non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</a:t>
            </a:r>
            <a:r>
              <a:rPr kumimoji="0" lang="en-US" sz="1000" b="0" i="0" u="none" strike="noStrike" kern="0" cap="none" spc="0" normalizeH="0" baseline="-25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252" name="TextBox 39">
            <a:extLst>
              <a:ext uri="{FF2B5EF4-FFF2-40B4-BE49-F238E27FC236}">
                <a16:creationId xmlns:a16="http://schemas.microsoft.com/office/drawing/2014/main" id="{E09D5A1C-E458-6B4F-A6E4-F8B3E310DFEF}"/>
              </a:ext>
            </a:extLst>
          </p:cNvPr>
          <p:cNvSpPr txBox="1"/>
          <p:nvPr/>
        </p:nvSpPr>
        <p:spPr>
          <a:xfrm>
            <a:off x="1856843" y="4246941"/>
            <a:ext cx="1874586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5760" lvl="2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3pPr>
            <a:lvl4pPr marL="548640" lvl="3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4pPr>
            <a:lvl5pPr marL="731520" lvl="4" indent="-180054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en-US" sz="1200">
                <a:solidFill>
                  <a:srgbClr val="FFFFFF"/>
                </a:solidFill>
              </a:rPr>
              <a:t>Giga Scale </a:t>
            </a:r>
            <a:br>
              <a:rPr lang="en-US" sz="1200">
                <a:solidFill>
                  <a:srgbClr val="FFFFFF"/>
                </a:solidFill>
              </a:rPr>
            </a:br>
            <a:r>
              <a:rPr lang="en-US" sz="1200">
                <a:solidFill>
                  <a:srgbClr val="FFFFFF"/>
                </a:solidFill>
              </a:rPr>
              <a:t>Electrolysis</a:t>
            </a:r>
          </a:p>
        </p:txBody>
      </p:sp>
      <p:sp>
        <p:nvSpPr>
          <p:cNvPr id="253" name="TextBox 40">
            <a:extLst>
              <a:ext uri="{FF2B5EF4-FFF2-40B4-BE49-F238E27FC236}">
                <a16:creationId xmlns:a16="http://schemas.microsoft.com/office/drawing/2014/main" id="{F7C6311D-A036-204D-99F0-D775DDDECBB4}"/>
              </a:ext>
            </a:extLst>
          </p:cNvPr>
          <p:cNvSpPr txBox="1"/>
          <p:nvPr/>
        </p:nvSpPr>
        <p:spPr>
          <a:xfrm>
            <a:off x="3845817" y="4246941"/>
            <a:ext cx="551433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5760" lvl="2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3pPr>
            <a:lvl4pPr marL="548640" lvl="3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4pPr>
            <a:lvl5pPr marL="731520" lvl="4" indent="-180054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en-US" sz="1200" dirty="0">
                <a:solidFill>
                  <a:srgbClr val="FFFFFF"/>
                </a:solidFill>
              </a:rPr>
              <a:t>DR</a:t>
            </a:r>
          </a:p>
          <a:p>
            <a:pPr algn="ctr">
              <a:buClr>
                <a:srgbClr val="000000"/>
              </a:buClr>
              <a:defRPr/>
            </a:pPr>
            <a:r>
              <a:rPr lang="en-US" sz="1200" dirty="0">
                <a:solidFill>
                  <a:srgbClr val="FFFFFF"/>
                </a:solidFill>
              </a:rPr>
              <a:t>Reactor</a:t>
            </a:r>
          </a:p>
        </p:txBody>
      </p:sp>
      <p:grpSp>
        <p:nvGrpSpPr>
          <p:cNvPr id="254" name="Group 41">
            <a:extLst>
              <a:ext uri="{FF2B5EF4-FFF2-40B4-BE49-F238E27FC236}">
                <a16:creationId xmlns:a16="http://schemas.microsoft.com/office/drawing/2014/main" id="{956AF18D-9C79-F145-B5F1-880E185238A1}"/>
              </a:ext>
            </a:extLst>
          </p:cNvPr>
          <p:cNvGrpSpPr/>
          <p:nvPr/>
        </p:nvGrpSpPr>
        <p:grpSpPr>
          <a:xfrm>
            <a:off x="3883165" y="3226410"/>
            <a:ext cx="491122" cy="968312"/>
            <a:chOff x="6225540" y="4299022"/>
            <a:chExt cx="381902" cy="1141658"/>
          </a:xfrm>
          <a:noFill/>
        </p:grpSpPr>
        <p:sp>
          <p:nvSpPr>
            <p:cNvPr id="255" name="Freeform: Shape 42">
              <a:extLst>
                <a:ext uri="{FF2B5EF4-FFF2-40B4-BE49-F238E27FC236}">
                  <a16:creationId xmlns:a16="http://schemas.microsoft.com/office/drawing/2014/main" id="{7EC3E78C-4893-B54F-B9B7-22494C66724F}"/>
                </a:ext>
              </a:extLst>
            </p:cNvPr>
            <p:cNvSpPr/>
            <p:nvPr/>
          </p:nvSpPr>
          <p:spPr>
            <a:xfrm>
              <a:off x="6225540" y="4504761"/>
              <a:ext cx="381902" cy="935919"/>
            </a:xfrm>
            <a:custGeom>
              <a:avLst/>
              <a:gdLst>
                <a:gd name="connsiteX0" fmla="*/ 190951 w 381902"/>
                <a:gd name="connsiteY0" fmla="*/ 0 h 935919"/>
                <a:gd name="connsiteX1" fmla="*/ 190952 w 381902"/>
                <a:gd name="connsiteY1" fmla="*/ 0 h 935919"/>
                <a:gd name="connsiteX2" fmla="*/ 190952 w 381902"/>
                <a:gd name="connsiteY2" fmla="*/ 0 h 935919"/>
                <a:gd name="connsiteX3" fmla="*/ 351423 w 381902"/>
                <a:gd name="connsiteY3" fmla="*/ 40118 h 935919"/>
                <a:gd name="connsiteX4" fmla="*/ 351422 w 381902"/>
                <a:gd name="connsiteY4" fmla="*/ 372921 h 935919"/>
                <a:gd name="connsiteX5" fmla="*/ 366896 w 381902"/>
                <a:gd name="connsiteY5" fmla="*/ 376404 h 935919"/>
                <a:gd name="connsiteX6" fmla="*/ 381902 w 381902"/>
                <a:gd name="connsiteY6" fmla="*/ 387684 h 935919"/>
                <a:gd name="connsiteX7" fmla="*/ 381902 w 381902"/>
                <a:gd name="connsiteY7" fmla="*/ 561567 h 935919"/>
                <a:gd name="connsiteX8" fmla="*/ 325974 w 381902"/>
                <a:gd name="connsiteY8" fmla="*/ 582059 h 935919"/>
                <a:gd name="connsiteX9" fmla="*/ 320722 w 381902"/>
                <a:gd name="connsiteY9" fmla="*/ 582597 h 935919"/>
                <a:gd name="connsiteX10" fmla="*/ 217144 w 381902"/>
                <a:gd name="connsiteY10" fmla="*/ 935919 h 935919"/>
                <a:gd name="connsiteX11" fmla="*/ 164759 w 381902"/>
                <a:gd name="connsiteY11" fmla="*/ 935919 h 935919"/>
                <a:gd name="connsiteX12" fmla="*/ 61181 w 381902"/>
                <a:gd name="connsiteY12" fmla="*/ 582597 h 935919"/>
                <a:gd name="connsiteX13" fmla="*/ 55929 w 381902"/>
                <a:gd name="connsiteY13" fmla="*/ 582059 h 935919"/>
                <a:gd name="connsiteX14" fmla="*/ 0 w 381902"/>
                <a:gd name="connsiteY14" fmla="*/ 561567 h 935919"/>
                <a:gd name="connsiteX15" fmla="*/ 0 w 381902"/>
                <a:gd name="connsiteY15" fmla="*/ 387684 h 935919"/>
                <a:gd name="connsiteX16" fmla="*/ 15006 w 381902"/>
                <a:gd name="connsiteY16" fmla="*/ 376404 h 935919"/>
                <a:gd name="connsiteX17" fmla="*/ 30480 w 381902"/>
                <a:gd name="connsiteY17" fmla="*/ 372921 h 935919"/>
                <a:gd name="connsiteX18" fmla="*/ 30481 w 381902"/>
                <a:gd name="connsiteY18" fmla="*/ 40119 h 935919"/>
                <a:gd name="connsiteX19" fmla="*/ 30480 w 381902"/>
                <a:gd name="connsiteY19" fmla="*/ 40118 h 935919"/>
                <a:gd name="connsiteX20" fmla="*/ 190951 w 381902"/>
                <a:gd name="connsiteY20" fmla="*/ 0 h 935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81902" h="935919">
                  <a:moveTo>
                    <a:pt x="190951" y="0"/>
                  </a:moveTo>
                  <a:lnTo>
                    <a:pt x="190952" y="0"/>
                  </a:lnTo>
                  <a:lnTo>
                    <a:pt x="190952" y="0"/>
                  </a:lnTo>
                  <a:cubicBezTo>
                    <a:pt x="279578" y="0"/>
                    <a:pt x="351423" y="17961"/>
                    <a:pt x="351423" y="40118"/>
                  </a:cubicBezTo>
                  <a:lnTo>
                    <a:pt x="351422" y="372921"/>
                  </a:lnTo>
                  <a:lnTo>
                    <a:pt x="366896" y="376404"/>
                  </a:lnTo>
                  <a:cubicBezTo>
                    <a:pt x="376559" y="379871"/>
                    <a:pt x="381902" y="383683"/>
                    <a:pt x="381902" y="387684"/>
                  </a:cubicBezTo>
                  <a:lnTo>
                    <a:pt x="381902" y="561567"/>
                  </a:lnTo>
                  <a:cubicBezTo>
                    <a:pt x="381902" y="569570"/>
                    <a:pt x="360529" y="576815"/>
                    <a:pt x="325974" y="582059"/>
                  </a:cubicBezTo>
                  <a:lnTo>
                    <a:pt x="320722" y="582597"/>
                  </a:lnTo>
                  <a:lnTo>
                    <a:pt x="217144" y="935919"/>
                  </a:lnTo>
                  <a:lnTo>
                    <a:pt x="164759" y="935919"/>
                  </a:lnTo>
                  <a:lnTo>
                    <a:pt x="61181" y="582597"/>
                  </a:lnTo>
                  <a:lnTo>
                    <a:pt x="55929" y="582059"/>
                  </a:lnTo>
                  <a:cubicBezTo>
                    <a:pt x="21373" y="576815"/>
                    <a:pt x="0" y="569570"/>
                    <a:pt x="0" y="561567"/>
                  </a:cubicBezTo>
                  <a:lnTo>
                    <a:pt x="0" y="387684"/>
                  </a:lnTo>
                  <a:cubicBezTo>
                    <a:pt x="0" y="383683"/>
                    <a:pt x="5344" y="379871"/>
                    <a:pt x="15006" y="376404"/>
                  </a:cubicBezTo>
                  <a:lnTo>
                    <a:pt x="30480" y="372921"/>
                  </a:lnTo>
                  <a:lnTo>
                    <a:pt x="30481" y="40119"/>
                  </a:lnTo>
                  <a:lnTo>
                    <a:pt x="30480" y="40118"/>
                  </a:lnTo>
                  <a:cubicBezTo>
                    <a:pt x="30480" y="17961"/>
                    <a:pt x="102325" y="0"/>
                    <a:pt x="190951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256" name="Straight Connector 43">
              <a:extLst>
                <a:ext uri="{FF2B5EF4-FFF2-40B4-BE49-F238E27FC236}">
                  <a16:creationId xmlns:a16="http://schemas.microsoft.com/office/drawing/2014/main" id="{19AAE24D-9203-624D-933F-D495DAEEF0F1}"/>
                </a:ext>
              </a:extLst>
            </p:cNvPr>
            <p:cNvCxnSpPr>
              <a:cxnSpLocks/>
            </p:cNvCxnSpPr>
            <p:nvPr/>
          </p:nvCxnSpPr>
          <p:spPr>
            <a:xfrm>
              <a:off x="6273616" y="4877682"/>
              <a:ext cx="0" cy="209676"/>
            </a:xfrm>
            <a:prstGeom prst="line">
              <a:avLst/>
            </a:pr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</p:cxnSp>
        <p:cxnSp>
          <p:nvCxnSpPr>
            <p:cNvPr id="257" name="Straight Connector 44">
              <a:extLst>
                <a:ext uri="{FF2B5EF4-FFF2-40B4-BE49-F238E27FC236}">
                  <a16:creationId xmlns:a16="http://schemas.microsoft.com/office/drawing/2014/main" id="{E3DFBAD2-52D7-8D4F-B5F6-C75E4246294E}"/>
                </a:ext>
              </a:extLst>
            </p:cNvPr>
            <p:cNvCxnSpPr>
              <a:cxnSpLocks/>
            </p:cNvCxnSpPr>
            <p:nvPr/>
          </p:nvCxnSpPr>
          <p:spPr>
            <a:xfrm>
              <a:off x="6321241" y="4877682"/>
              <a:ext cx="0" cy="209676"/>
            </a:xfrm>
            <a:prstGeom prst="line">
              <a:avLst/>
            </a:pr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</p:cxnSp>
        <p:cxnSp>
          <p:nvCxnSpPr>
            <p:cNvPr id="258" name="Straight Connector 45">
              <a:extLst>
                <a:ext uri="{FF2B5EF4-FFF2-40B4-BE49-F238E27FC236}">
                  <a16:creationId xmlns:a16="http://schemas.microsoft.com/office/drawing/2014/main" id="{D9304395-6727-7D4D-94C0-ED905572007C}"/>
                </a:ext>
              </a:extLst>
            </p:cNvPr>
            <p:cNvCxnSpPr>
              <a:cxnSpLocks/>
            </p:cNvCxnSpPr>
            <p:nvPr/>
          </p:nvCxnSpPr>
          <p:spPr>
            <a:xfrm>
              <a:off x="6368866" y="4877682"/>
              <a:ext cx="0" cy="209676"/>
            </a:xfrm>
            <a:prstGeom prst="line">
              <a:avLst/>
            </a:pr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</p:cxnSp>
        <p:cxnSp>
          <p:nvCxnSpPr>
            <p:cNvPr id="259" name="Straight Connector 46">
              <a:extLst>
                <a:ext uri="{FF2B5EF4-FFF2-40B4-BE49-F238E27FC236}">
                  <a16:creationId xmlns:a16="http://schemas.microsoft.com/office/drawing/2014/main" id="{95A42685-EAF6-724E-ACCA-83E7D14C7FB5}"/>
                </a:ext>
              </a:extLst>
            </p:cNvPr>
            <p:cNvCxnSpPr>
              <a:cxnSpLocks/>
            </p:cNvCxnSpPr>
            <p:nvPr/>
          </p:nvCxnSpPr>
          <p:spPr>
            <a:xfrm>
              <a:off x="6416491" y="4877682"/>
              <a:ext cx="0" cy="209676"/>
            </a:xfrm>
            <a:prstGeom prst="line">
              <a:avLst/>
            </a:pr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</p:cxnSp>
        <p:cxnSp>
          <p:nvCxnSpPr>
            <p:cNvPr id="260" name="Straight Connector 47">
              <a:extLst>
                <a:ext uri="{FF2B5EF4-FFF2-40B4-BE49-F238E27FC236}">
                  <a16:creationId xmlns:a16="http://schemas.microsoft.com/office/drawing/2014/main" id="{DFB61C9C-2258-3749-B76D-811AE939AFFD}"/>
                </a:ext>
              </a:extLst>
            </p:cNvPr>
            <p:cNvCxnSpPr>
              <a:cxnSpLocks/>
            </p:cNvCxnSpPr>
            <p:nvPr/>
          </p:nvCxnSpPr>
          <p:spPr>
            <a:xfrm>
              <a:off x="6464116" y="4877682"/>
              <a:ext cx="0" cy="209676"/>
            </a:xfrm>
            <a:prstGeom prst="line">
              <a:avLst/>
            </a:pr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</p:cxnSp>
        <p:cxnSp>
          <p:nvCxnSpPr>
            <p:cNvPr id="261" name="Straight Connector 48">
              <a:extLst>
                <a:ext uri="{FF2B5EF4-FFF2-40B4-BE49-F238E27FC236}">
                  <a16:creationId xmlns:a16="http://schemas.microsoft.com/office/drawing/2014/main" id="{9371233E-124A-6849-8CCD-0264B42C5AD4}"/>
                </a:ext>
              </a:extLst>
            </p:cNvPr>
            <p:cNvCxnSpPr>
              <a:cxnSpLocks/>
            </p:cNvCxnSpPr>
            <p:nvPr/>
          </p:nvCxnSpPr>
          <p:spPr>
            <a:xfrm>
              <a:off x="6511741" y="4877682"/>
              <a:ext cx="0" cy="209676"/>
            </a:xfrm>
            <a:prstGeom prst="line">
              <a:avLst/>
            </a:pr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</p:cxnSp>
        <p:cxnSp>
          <p:nvCxnSpPr>
            <p:cNvPr id="262" name="Straight Connector 49">
              <a:extLst>
                <a:ext uri="{FF2B5EF4-FFF2-40B4-BE49-F238E27FC236}">
                  <a16:creationId xmlns:a16="http://schemas.microsoft.com/office/drawing/2014/main" id="{E47ABAB7-AD9D-734C-BC6B-38F5F4D9CBC5}"/>
                </a:ext>
              </a:extLst>
            </p:cNvPr>
            <p:cNvCxnSpPr>
              <a:cxnSpLocks/>
            </p:cNvCxnSpPr>
            <p:nvPr/>
          </p:nvCxnSpPr>
          <p:spPr>
            <a:xfrm>
              <a:off x="6559366" y="4877682"/>
              <a:ext cx="0" cy="209676"/>
            </a:xfrm>
            <a:prstGeom prst="line">
              <a:avLst/>
            </a:pr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</p:cxnSp>
        <p:cxnSp>
          <p:nvCxnSpPr>
            <p:cNvPr id="263" name="Straight Connector 50">
              <a:extLst>
                <a:ext uri="{FF2B5EF4-FFF2-40B4-BE49-F238E27FC236}">
                  <a16:creationId xmlns:a16="http://schemas.microsoft.com/office/drawing/2014/main" id="{174E42CB-BE1E-A544-8C21-BB8F1BD68F80}"/>
                </a:ext>
              </a:extLst>
            </p:cNvPr>
            <p:cNvCxnSpPr>
              <a:cxnSpLocks/>
            </p:cNvCxnSpPr>
            <p:nvPr/>
          </p:nvCxnSpPr>
          <p:spPr>
            <a:xfrm>
              <a:off x="6369706" y="4391025"/>
              <a:ext cx="0" cy="113736"/>
            </a:xfrm>
            <a:prstGeom prst="line">
              <a:avLst/>
            </a:pr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</p:cxnSp>
        <p:cxnSp>
          <p:nvCxnSpPr>
            <p:cNvPr id="264" name="Straight Connector 51">
              <a:extLst>
                <a:ext uri="{FF2B5EF4-FFF2-40B4-BE49-F238E27FC236}">
                  <a16:creationId xmlns:a16="http://schemas.microsoft.com/office/drawing/2014/main" id="{B93CB5B1-120C-6D49-8900-F69B58718B7A}"/>
                </a:ext>
              </a:extLst>
            </p:cNvPr>
            <p:cNvCxnSpPr>
              <a:cxnSpLocks/>
            </p:cNvCxnSpPr>
            <p:nvPr/>
          </p:nvCxnSpPr>
          <p:spPr>
            <a:xfrm>
              <a:off x="6463277" y="4391025"/>
              <a:ext cx="0" cy="113736"/>
            </a:xfrm>
            <a:prstGeom prst="line">
              <a:avLst/>
            </a:pr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</p:cxnSp>
        <p:sp>
          <p:nvSpPr>
            <p:cNvPr id="265" name="Freeform: Shape 52">
              <a:extLst>
                <a:ext uri="{FF2B5EF4-FFF2-40B4-BE49-F238E27FC236}">
                  <a16:creationId xmlns:a16="http://schemas.microsoft.com/office/drawing/2014/main" id="{5BD9D812-2531-AC46-8A23-2B292EB4201B}"/>
                </a:ext>
              </a:extLst>
            </p:cNvPr>
            <p:cNvSpPr/>
            <p:nvPr/>
          </p:nvSpPr>
          <p:spPr>
            <a:xfrm flipH="1">
              <a:off x="6344132" y="4299022"/>
              <a:ext cx="51148" cy="149154"/>
            </a:xfrm>
            <a:custGeom>
              <a:avLst/>
              <a:gdLst>
                <a:gd name="connsiteX0" fmla="*/ 190951 w 381902"/>
                <a:gd name="connsiteY0" fmla="*/ 0 h 935919"/>
                <a:gd name="connsiteX1" fmla="*/ 190952 w 381902"/>
                <a:gd name="connsiteY1" fmla="*/ 0 h 935919"/>
                <a:gd name="connsiteX2" fmla="*/ 190952 w 381902"/>
                <a:gd name="connsiteY2" fmla="*/ 0 h 935919"/>
                <a:gd name="connsiteX3" fmla="*/ 351423 w 381902"/>
                <a:gd name="connsiteY3" fmla="*/ 40118 h 935919"/>
                <a:gd name="connsiteX4" fmla="*/ 351422 w 381902"/>
                <a:gd name="connsiteY4" fmla="*/ 372921 h 935919"/>
                <a:gd name="connsiteX5" fmla="*/ 366896 w 381902"/>
                <a:gd name="connsiteY5" fmla="*/ 376404 h 935919"/>
                <a:gd name="connsiteX6" fmla="*/ 381902 w 381902"/>
                <a:gd name="connsiteY6" fmla="*/ 387684 h 935919"/>
                <a:gd name="connsiteX7" fmla="*/ 381902 w 381902"/>
                <a:gd name="connsiteY7" fmla="*/ 561567 h 935919"/>
                <a:gd name="connsiteX8" fmla="*/ 325974 w 381902"/>
                <a:gd name="connsiteY8" fmla="*/ 582059 h 935919"/>
                <a:gd name="connsiteX9" fmla="*/ 320722 w 381902"/>
                <a:gd name="connsiteY9" fmla="*/ 582597 h 935919"/>
                <a:gd name="connsiteX10" fmla="*/ 217144 w 381902"/>
                <a:gd name="connsiteY10" fmla="*/ 935919 h 935919"/>
                <a:gd name="connsiteX11" fmla="*/ 164759 w 381902"/>
                <a:gd name="connsiteY11" fmla="*/ 935919 h 935919"/>
                <a:gd name="connsiteX12" fmla="*/ 61181 w 381902"/>
                <a:gd name="connsiteY12" fmla="*/ 582597 h 935919"/>
                <a:gd name="connsiteX13" fmla="*/ 55929 w 381902"/>
                <a:gd name="connsiteY13" fmla="*/ 582059 h 935919"/>
                <a:gd name="connsiteX14" fmla="*/ 0 w 381902"/>
                <a:gd name="connsiteY14" fmla="*/ 561567 h 935919"/>
                <a:gd name="connsiteX15" fmla="*/ 0 w 381902"/>
                <a:gd name="connsiteY15" fmla="*/ 387684 h 935919"/>
                <a:gd name="connsiteX16" fmla="*/ 15006 w 381902"/>
                <a:gd name="connsiteY16" fmla="*/ 376404 h 935919"/>
                <a:gd name="connsiteX17" fmla="*/ 30480 w 381902"/>
                <a:gd name="connsiteY17" fmla="*/ 372921 h 935919"/>
                <a:gd name="connsiteX18" fmla="*/ 30481 w 381902"/>
                <a:gd name="connsiteY18" fmla="*/ 40119 h 935919"/>
                <a:gd name="connsiteX19" fmla="*/ 30480 w 381902"/>
                <a:gd name="connsiteY19" fmla="*/ 40118 h 935919"/>
                <a:gd name="connsiteX20" fmla="*/ 190951 w 381902"/>
                <a:gd name="connsiteY20" fmla="*/ 0 h 935919"/>
                <a:gd name="connsiteX0" fmla="*/ 190951 w 381902"/>
                <a:gd name="connsiteY0" fmla="*/ 0 h 935919"/>
                <a:gd name="connsiteX1" fmla="*/ 190952 w 381902"/>
                <a:gd name="connsiteY1" fmla="*/ 0 h 935919"/>
                <a:gd name="connsiteX2" fmla="*/ 190952 w 381902"/>
                <a:gd name="connsiteY2" fmla="*/ 0 h 935919"/>
                <a:gd name="connsiteX3" fmla="*/ 351423 w 381902"/>
                <a:gd name="connsiteY3" fmla="*/ 40118 h 935919"/>
                <a:gd name="connsiteX4" fmla="*/ 351422 w 381902"/>
                <a:gd name="connsiteY4" fmla="*/ 372921 h 935919"/>
                <a:gd name="connsiteX5" fmla="*/ 366896 w 381902"/>
                <a:gd name="connsiteY5" fmla="*/ 376404 h 935919"/>
                <a:gd name="connsiteX6" fmla="*/ 381902 w 381902"/>
                <a:gd name="connsiteY6" fmla="*/ 387684 h 935919"/>
                <a:gd name="connsiteX7" fmla="*/ 381902 w 381902"/>
                <a:gd name="connsiteY7" fmla="*/ 561567 h 935919"/>
                <a:gd name="connsiteX8" fmla="*/ 325974 w 381902"/>
                <a:gd name="connsiteY8" fmla="*/ 582059 h 935919"/>
                <a:gd name="connsiteX9" fmla="*/ 320722 w 381902"/>
                <a:gd name="connsiteY9" fmla="*/ 582597 h 935919"/>
                <a:gd name="connsiteX10" fmla="*/ 217144 w 381902"/>
                <a:gd name="connsiteY10" fmla="*/ 935919 h 935919"/>
                <a:gd name="connsiteX11" fmla="*/ 164759 w 381902"/>
                <a:gd name="connsiteY11" fmla="*/ 935919 h 935919"/>
                <a:gd name="connsiteX12" fmla="*/ 61181 w 381902"/>
                <a:gd name="connsiteY12" fmla="*/ 582597 h 935919"/>
                <a:gd name="connsiteX13" fmla="*/ 55929 w 381902"/>
                <a:gd name="connsiteY13" fmla="*/ 582059 h 935919"/>
                <a:gd name="connsiteX14" fmla="*/ 0 w 381902"/>
                <a:gd name="connsiteY14" fmla="*/ 561567 h 935919"/>
                <a:gd name="connsiteX15" fmla="*/ 0 w 381902"/>
                <a:gd name="connsiteY15" fmla="*/ 387684 h 935919"/>
                <a:gd name="connsiteX16" fmla="*/ 30480 w 381902"/>
                <a:gd name="connsiteY16" fmla="*/ 372921 h 935919"/>
                <a:gd name="connsiteX17" fmla="*/ 30481 w 381902"/>
                <a:gd name="connsiteY17" fmla="*/ 40119 h 935919"/>
                <a:gd name="connsiteX18" fmla="*/ 30480 w 381902"/>
                <a:gd name="connsiteY18" fmla="*/ 40118 h 935919"/>
                <a:gd name="connsiteX19" fmla="*/ 190951 w 381902"/>
                <a:gd name="connsiteY19" fmla="*/ 0 h 935919"/>
                <a:gd name="connsiteX0" fmla="*/ 190951 w 381902"/>
                <a:gd name="connsiteY0" fmla="*/ 0 h 935919"/>
                <a:gd name="connsiteX1" fmla="*/ 190952 w 381902"/>
                <a:gd name="connsiteY1" fmla="*/ 0 h 935919"/>
                <a:gd name="connsiteX2" fmla="*/ 190952 w 381902"/>
                <a:gd name="connsiteY2" fmla="*/ 0 h 935919"/>
                <a:gd name="connsiteX3" fmla="*/ 351423 w 381902"/>
                <a:gd name="connsiteY3" fmla="*/ 40118 h 935919"/>
                <a:gd name="connsiteX4" fmla="*/ 351422 w 381902"/>
                <a:gd name="connsiteY4" fmla="*/ 372921 h 935919"/>
                <a:gd name="connsiteX5" fmla="*/ 366896 w 381902"/>
                <a:gd name="connsiteY5" fmla="*/ 376404 h 935919"/>
                <a:gd name="connsiteX6" fmla="*/ 381902 w 381902"/>
                <a:gd name="connsiteY6" fmla="*/ 387684 h 935919"/>
                <a:gd name="connsiteX7" fmla="*/ 381902 w 381902"/>
                <a:gd name="connsiteY7" fmla="*/ 561567 h 935919"/>
                <a:gd name="connsiteX8" fmla="*/ 325974 w 381902"/>
                <a:gd name="connsiteY8" fmla="*/ 582059 h 935919"/>
                <a:gd name="connsiteX9" fmla="*/ 320722 w 381902"/>
                <a:gd name="connsiteY9" fmla="*/ 582597 h 935919"/>
                <a:gd name="connsiteX10" fmla="*/ 217144 w 381902"/>
                <a:gd name="connsiteY10" fmla="*/ 935919 h 935919"/>
                <a:gd name="connsiteX11" fmla="*/ 164759 w 381902"/>
                <a:gd name="connsiteY11" fmla="*/ 935919 h 935919"/>
                <a:gd name="connsiteX12" fmla="*/ 61181 w 381902"/>
                <a:gd name="connsiteY12" fmla="*/ 582597 h 935919"/>
                <a:gd name="connsiteX13" fmla="*/ 55929 w 381902"/>
                <a:gd name="connsiteY13" fmla="*/ 582059 h 935919"/>
                <a:gd name="connsiteX14" fmla="*/ 0 w 381902"/>
                <a:gd name="connsiteY14" fmla="*/ 561567 h 935919"/>
                <a:gd name="connsiteX15" fmla="*/ 30480 w 381902"/>
                <a:gd name="connsiteY15" fmla="*/ 372921 h 935919"/>
                <a:gd name="connsiteX16" fmla="*/ 30481 w 381902"/>
                <a:gd name="connsiteY16" fmla="*/ 40119 h 935919"/>
                <a:gd name="connsiteX17" fmla="*/ 30480 w 381902"/>
                <a:gd name="connsiteY17" fmla="*/ 40118 h 935919"/>
                <a:gd name="connsiteX18" fmla="*/ 190951 w 381902"/>
                <a:gd name="connsiteY18" fmla="*/ 0 h 935919"/>
                <a:gd name="connsiteX0" fmla="*/ 160471 w 351422"/>
                <a:gd name="connsiteY0" fmla="*/ 0 h 935919"/>
                <a:gd name="connsiteX1" fmla="*/ 160472 w 351422"/>
                <a:gd name="connsiteY1" fmla="*/ 0 h 935919"/>
                <a:gd name="connsiteX2" fmla="*/ 160472 w 351422"/>
                <a:gd name="connsiteY2" fmla="*/ 0 h 935919"/>
                <a:gd name="connsiteX3" fmla="*/ 320943 w 351422"/>
                <a:gd name="connsiteY3" fmla="*/ 40118 h 935919"/>
                <a:gd name="connsiteX4" fmla="*/ 320942 w 351422"/>
                <a:gd name="connsiteY4" fmla="*/ 372921 h 935919"/>
                <a:gd name="connsiteX5" fmla="*/ 336416 w 351422"/>
                <a:gd name="connsiteY5" fmla="*/ 376404 h 935919"/>
                <a:gd name="connsiteX6" fmla="*/ 351422 w 351422"/>
                <a:gd name="connsiteY6" fmla="*/ 387684 h 935919"/>
                <a:gd name="connsiteX7" fmla="*/ 351422 w 351422"/>
                <a:gd name="connsiteY7" fmla="*/ 561567 h 935919"/>
                <a:gd name="connsiteX8" fmla="*/ 295494 w 351422"/>
                <a:gd name="connsiteY8" fmla="*/ 582059 h 935919"/>
                <a:gd name="connsiteX9" fmla="*/ 290242 w 351422"/>
                <a:gd name="connsiteY9" fmla="*/ 582597 h 935919"/>
                <a:gd name="connsiteX10" fmla="*/ 186664 w 351422"/>
                <a:gd name="connsiteY10" fmla="*/ 935919 h 935919"/>
                <a:gd name="connsiteX11" fmla="*/ 134279 w 351422"/>
                <a:gd name="connsiteY11" fmla="*/ 935919 h 935919"/>
                <a:gd name="connsiteX12" fmla="*/ 30701 w 351422"/>
                <a:gd name="connsiteY12" fmla="*/ 582597 h 935919"/>
                <a:gd name="connsiteX13" fmla="*/ 25449 w 351422"/>
                <a:gd name="connsiteY13" fmla="*/ 582059 h 935919"/>
                <a:gd name="connsiteX14" fmla="*/ 0 w 351422"/>
                <a:gd name="connsiteY14" fmla="*/ 372921 h 935919"/>
                <a:gd name="connsiteX15" fmla="*/ 1 w 351422"/>
                <a:gd name="connsiteY15" fmla="*/ 40119 h 935919"/>
                <a:gd name="connsiteX16" fmla="*/ 0 w 351422"/>
                <a:gd name="connsiteY16" fmla="*/ 40118 h 935919"/>
                <a:gd name="connsiteX17" fmla="*/ 160471 w 351422"/>
                <a:gd name="connsiteY17" fmla="*/ 0 h 935919"/>
                <a:gd name="connsiteX0" fmla="*/ 160471 w 351422"/>
                <a:gd name="connsiteY0" fmla="*/ 0 h 935919"/>
                <a:gd name="connsiteX1" fmla="*/ 160472 w 351422"/>
                <a:gd name="connsiteY1" fmla="*/ 0 h 935919"/>
                <a:gd name="connsiteX2" fmla="*/ 160472 w 351422"/>
                <a:gd name="connsiteY2" fmla="*/ 0 h 935919"/>
                <a:gd name="connsiteX3" fmla="*/ 320943 w 351422"/>
                <a:gd name="connsiteY3" fmla="*/ 40118 h 935919"/>
                <a:gd name="connsiteX4" fmla="*/ 320942 w 351422"/>
                <a:gd name="connsiteY4" fmla="*/ 372921 h 935919"/>
                <a:gd name="connsiteX5" fmla="*/ 336416 w 351422"/>
                <a:gd name="connsiteY5" fmla="*/ 376404 h 935919"/>
                <a:gd name="connsiteX6" fmla="*/ 351422 w 351422"/>
                <a:gd name="connsiteY6" fmla="*/ 387684 h 935919"/>
                <a:gd name="connsiteX7" fmla="*/ 351422 w 351422"/>
                <a:gd name="connsiteY7" fmla="*/ 561567 h 935919"/>
                <a:gd name="connsiteX8" fmla="*/ 295494 w 351422"/>
                <a:gd name="connsiteY8" fmla="*/ 582059 h 935919"/>
                <a:gd name="connsiteX9" fmla="*/ 290242 w 351422"/>
                <a:gd name="connsiteY9" fmla="*/ 582597 h 935919"/>
                <a:gd name="connsiteX10" fmla="*/ 186664 w 351422"/>
                <a:gd name="connsiteY10" fmla="*/ 935919 h 935919"/>
                <a:gd name="connsiteX11" fmla="*/ 134279 w 351422"/>
                <a:gd name="connsiteY11" fmla="*/ 935919 h 935919"/>
                <a:gd name="connsiteX12" fmla="*/ 30701 w 351422"/>
                <a:gd name="connsiteY12" fmla="*/ 582597 h 935919"/>
                <a:gd name="connsiteX13" fmla="*/ 0 w 351422"/>
                <a:gd name="connsiteY13" fmla="*/ 372921 h 935919"/>
                <a:gd name="connsiteX14" fmla="*/ 1 w 351422"/>
                <a:gd name="connsiteY14" fmla="*/ 40119 h 935919"/>
                <a:gd name="connsiteX15" fmla="*/ 0 w 351422"/>
                <a:gd name="connsiteY15" fmla="*/ 40118 h 935919"/>
                <a:gd name="connsiteX16" fmla="*/ 160471 w 351422"/>
                <a:gd name="connsiteY16" fmla="*/ 0 h 935919"/>
                <a:gd name="connsiteX0" fmla="*/ 160471 w 353031"/>
                <a:gd name="connsiteY0" fmla="*/ 0 h 935919"/>
                <a:gd name="connsiteX1" fmla="*/ 160472 w 353031"/>
                <a:gd name="connsiteY1" fmla="*/ 0 h 935919"/>
                <a:gd name="connsiteX2" fmla="*/ 160472 w 353031"/>
                <a:gd name="connsiteY2" fmla="*/ 0 h 935919"/>
                <a:gd name="connsiteX3" fmla="*/ 320943 w 353031"/>
                <a:gd name="connsiteY3" fmla="*/ 40118 h 935919"/>
                <a:gd name="connsiteX4" fmla="*/ 320942 w 353031"/>
                <a:gd name="connsiteY4" fmla="*/ 372921 h 935919"/>
                <a:gd name="connsiteX5" fmla="*/ 336416 w 353031"/>
                <a:gd name="connsiteY5" fmla="*/ 376404 h 935919"/>
                <a:gd name="connsiteX6" fmla="*/ 351422 w 353031"/>
                <a:gd name="connsiteY6" fmla="*/ 561567 h 935919"/>
                <a:gd name="connsiteX7" fmla="*/ 295494 w 353031"/>
                <a:gd name="connsiteY7" fmla="*/ 582059 h 935919"/>
                <a:gd name="connsiteX8" fmla="*/ 290242 w 353031"/>
                <a:gd name="connsiteY8" fmla="*/ 582597 h 935919"/>
                <a:gd name="connsiteX9" fmla="*/ 186664 w 353031"/>
                <a:gd name="connsiteY9" fmla="*/ 935919 h 935919"/>
                <a:gd name="connsiteX10" fmla="*/ 134279 w 353031"/>
                <a:gd name="connsiteY10" fmla="*/ 935919 h 935919"/>
                <a:gd name="connsiteX11" fmla="*/ 30701 w 353031"/>
                <a:gd name="connsiteY11" fmla="*/ 582597 h 935919"/>
                <a:gd name="connsiteX12" fmla="*/ 0 w 353031"/>
                <a:gd name="connsiteY12" fmla="*/ 372921 h 935919"/>
                <a:gd name="connsiteX13" fmla="*/ 1 w 353031"/>
                <a:gd name="connsiteY13" fmla="*/ 40119 h 935919"/>
                <a:gd name="connsiteX14" fmla="*/ 0 w 353031"/>
                <a:gd name="connsiteY14" fmla="*/ 40118 h 935919"/>
                <a:gd name="connsiteX15" fmla="*/ 160471 w 353031"/>
                <a:gd name="connsiteY15" fmla="*/ 0 h 935919"/>
                <a:gd name="connsiteX0" fmla="*/ 160471 w 351422"/>
                <a:gd name="connsiteY0" fmla="*/ 0 h 935919"/>
                <a:gd name="connsiteX1" fmla="*/ 160472 w 351422"/>
                <a:gd name="connsiteY1" fmla="*/ 0 h 935919"/>
                <a:gd name="connsiteX2" fmla="*/ 160472 w 351422"/>
                <a:gd name="connsiteY2" fmla="*/ 0 h 935919"/>
                <a:gd name="connsiteX3" fmla="*/ 320943 w 351422"/>
                <a:gd name="connsiteY3" fmla="*/ 40118 h 935919"/>
                <a:gd name="connsiteX4" fmla="*/ 320942 w 351422"/>
                <a:gd name="connsiteY4" fmla="*/ 372921 h 935919"/>
                <a:gd name="connsiteX5" fmla="*/ 351422 w 351422"/>
                <a:gd name="connsiteY5" fmla="*/ 561567 h 935919"/>
                <a:gd name="connsiteX6" fmla="*/ 295494 w 351422"/>
                <a:gd name="connsiteY6" fmla="*/ 582059 h 935919"/>
                <a:gd name="connsiteX7" fmla="*/ 290242 w 351422"/>
                <a:gd name="connsiteY7" fmla="*/ 582597 h 935919"/>
                <a:gd name="connsiteX8" fmla="*/ 186664 w 351422"/>
                <a:gd name="connsiteY8" fmla="*/ 935919 h 935919"/>
                <a:gd name="connsiteX9" fmla="*/ 134279 w 351422"/>
                <a:gd name="connsiteY9" fmla="*/ 935919 h 935919"/>
                <a:gd name="connsiteX10" fmla="*/ 30701 w 351422"/>
                <a:gd name="connsiteY10" fmla="*/ 582597 h 935919"/>
                <a:gd name="connsiteX11" fmla="*/ 0 w 351422"/>
                <a:gd name="connsiteY11" fmla="*/ 372921 h 935919"/>
                <a:gd name="connsiteX12" fmla="*/ 1 w 351422"/>
                <a:gd name="connsiteY12" fmla="*/ 40119 h 935919"/>
                <a:gd name="connsiteX13" fmla="*/ 0 w 351422"/>
                <a:gd name="connsiteY13" fmla="*/ 40118 h 935919"/>
                <a:gd name="connsiteX14" fmla="*/ 160471 w 351422"/>
                <a:gd name="connsiteY14" fmla="*/ 0 h 935919"/>
                <a:gd name="connsiteX0" fmla="*/ 160471 w 320943"/>
                <a:gd name="connsiteY0" fmla="*/ 0 h 935919"/>
                <a:gd name="connsiteX1" fmla="*/ 160472 w 320943"/>
                <a:gd name="connsiteY1" fmla="*/ 0 h 935919"/>
                <a:gd name="connsiteX2" fmla="*/ 160472 w 320943"/>
                <a:gd name="connsiteY2" fmla="*/ 0 h 935919"/>
                <a:gd name="connsiteX3" fmla="*/ 320943 w 320943"/>
                <a:gd name="connsiteY3" fmla="*/ 40118 h 935919"/>
                <a:gd name="connsiteX4" fmla="*/ 320942 w 320943"/>
                <a:gd name="connsiteY4" fmla="*/ 372921 h 935919"/>
                <a:gd name="connsiteX5" fmla="*/ 295494 w 320943"/>
                <a:gd name="connsiteY5" fmla="*/ 582059 h 935919"/>
                <a:gd name="connsiteX6" fmla="*/ 290242 w 320943"/>
                <a:gd name="connsiteY6" fmla="*/ 582597 h 935919"/>
                <a:gd name="connsiteX7" fmla="*/ 186664 w 320943"/>
                <a:gd name="connsiteY7" fmla="*/ 935919 h 935919"/>
                <a:gd name="connsiteX8" fmla="*/ 134279 w 320943"/>
                <a:gd name="connsiteY8" fmla="*/ 935919 h 935919"/>
                <a:gd name="connsiteX9" fmla="*/ 30701 w 320943"/>
                <a:gd name="connsiteY9" fmla="*/ 582597 h 935919"/>
                <a:gd name="connsiteX10" fmla="*/ 0 w 320943"/>
                <a:gd name="connsiteY10" fmla="*/ 372921 h 935919"/>
                <a:gd name="connsiteX11" fmla="*/ 1 w 320943"/>
                <a:gd name="connsiteY11" fmla="*/ 40119 h 935919"/>
                <a:gd name="connsiteX12" fmla="*/ 0 w 320943"/>
                <a:gd name="connsiteY12" fmla="*/ 40118 h 935919"/>
                <a:gd name="connsiteX13" fmla="*/ 160471 w 320943"/>
                <a:gd name="connsiteY13" fmla="*/ 0 h 935919"/>
                <a:gd name="connsiteX0" fmla="*/ 160471 w 320943"/>
                <a:gd name="connsiteY0" fmla="*/ 0 h 935919"/>
                <a:gd name="connsiteX1" fmla="*/ 160472 w 320943"/>
                <a:gd name="connsiteY1" fmla="*/ 0 h 935919"/>
                <a:gd name="connsiteX2" fmla="*/ 160472 w 320943"/>
                <a:gd name="connsiteY2" fmla="*/ 0 h 935919"/>
                <a:gd name="connsiteX3" fmla="*/ 320943 w 320943"/>
                <a:gd name="connsiteY3" fmla="*/ 40118 h 935919"/>
                <a:gd name="connsiteX4" fmla="*/ 320942 w 320943"/>
                <a:gd name="connsiteY4" fmla="*/ 372921 h 935919"/>
                <a:gd name="connsiteX5" fmla="*/ 295494 w 320943"/>
                <a:gd name="connsiteY5" fmla="*/ 582059 h 935919"/>
                <a:gd name="connsiteX6" fmla="*/ 186664 w 320943"/>
                <a:gd name="connsiteY6" fmla="*/ 935919 h 935919"/>
                <a:gd name="connsiteX7" fmla="*/ 134279 w 320943"/>
                <a:gd name="connsiteY7" fmla="*/ 935919 h 935919"/>
                <a:gd name="connsiteX8" fmla="*/ 30701 w 320943"/>
                <a:gd name="connsiteY8" fmla="*/ 582597 h 935919"/>
                <a:gd name="connsiteX9" fmla="*/ 0 w 320943"/>
                <a:gd name="connsiteY9" fmla="*/ 372921 h 935919"/>
                <a:gd name="connsiteX10" fmla="*/ 1 w 320943"/>
                <a:gd name="connsiteY10" fmla="*/ 40119 h 935919"/>
                <a:gd name="connsiteX11" fmla="*/ 0 w 320943"/>
                <a:gd name="connsiteY11" fmla="*/ 40118 h 935919"/>
                <a:gd name="connsiteX12" fmla="*/ 160471 w 320943"/>
                <a:gd name="connsiteY12" fmla="*/ 0 h 935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0943" h="935919">
                  <a:moveTo>
                    <a:pt x="160471" y="0"/>
                  </a:moveTo>
                  <a:lnTo>
                    <a:pt x="160472" y="0"/>
                  </a:lnTo>
                  <a:lnTo>
                    <a:pt x="160472" y="0"/>
                  </a:lnTo>
                  <a:cubicBezTo>
                    <a:pt x="249098" y="0"/>
                    <a:pt x="320943" y="17961"/>
                    <a:pt x="320943" y="40118"/>
                  </a:cubicBezTo>
                  <a:cubicBezTo>
                    <a:pt x="320943" y="151052"/>
                    <a:pt x="320942" y="261987"/>
                    <a:pt x="320942" y="372921"/>
                  </a:cubicBezTo>
                  <a:lnTo>
                    <a:pt x="295494" y="582059"/>
                  </a:lnTo>
                  <a:lnTo>
                    <a:pt x="186664" y="935919"/>
                  </a:lnTo>
                  <a:lnTo>
                    <a:pt x="134279" y="935919"/>
                  </a:lnTo>
                  <a:lnTo>
                    <a:pt x="30701" y="582597"/>
                  </a:lnTo>
                  <a:lnTo>
                    <a:pt x="0" y="372921"/>
                  </a:lnTo>
                  <a:cubicBezTo>
                    <a:pt x="0" y="261987"/>
                    <a:pt x="1" y="151053"/>
                    <a:pt x="1" y="40119"/>
                  </a:cubicBezTo>
                  <a:lnTo>
                    <a:pt x="0" y="40118"/>
                  </a:lnTo>
                  <a:cubicBezTo>
                    <a:pt x="0" y="17961"/>
                    <a:pt x="71845" y="0"/>
                    <a:pt x="160471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6" name="Freeform: Shape 53">
              <a:extLst>
                <a:ext uri="{FF2B5EF4-FFF2-40B4-BE49-F238E27FC236}">
                  <a16:creationId xmlns:a16="http://schemas.microsoft.com/office/drawing/2014/main" id="{C872DDD3-B4DC-4C42-96F0-EB04B3D84C0B}"/>
                </a:ext>
              </a:extLst>
            </p:cNvPr>
            <p:cNvSpPr/>
            <p:nvPr/>
          </p:nvSpPr>
          <p:spPr>
            <a:xfrm flipH="1">
              <a:off x="6437703" y="4299022"/>
              <a:ext cx="51148" cy="149154"/>
            </a:xfrm>
            <a:custGeom>
              <a:avLst/>
              <a:gdLst>
                <a:gd name="connsiteX0" fmla="*/ 190951 w 381902"/>
                <a:gd name="connsiteY0" fmla="*/ 0 h 935919"/>
                <a:gd name="connsiteX1" fmla="*/ 190952 w 381902"/>
                <a:gd name="connsiteY1" fmla="*/ 0 h 935919"/>
                <a:gd name="connsiteX2" fmla="*/ 190952 w 381902"/>
                <a:gd name="connsiteY2" fmla="*/ 0 h 935919"/>
                <a:gd name="connsiteX3" fmla="*/ 351423 w 381902"/>
                <a:gd name="connsiteY3" fmla="*/ 40118 h 935919"/>
                <a:gd name="connsiteX4" fmla="*/ 351422 w 381902"/>
                <a:gd name="connsiteY4" fmla="*/ 372921 h 935919"/>
                <a:gd name="connsiteX5" fmla="*/ 366896 w 381902"/>
                <a:gd name="connsiteY5" fmla="*/ 376404 h 935919"/>
                <a:gd name="connsiteX6" fmla="*/ 381902 w 381902"/>
                <a:gd name="connsiteY6" fmla="*/ 387684 h 935919"/>
                <a:gd name="connsiteX7" fmla="*/ 381902 w 381902"/>
                <a:gd name="connsiteY7" fmla="*/ 561567 h 935919"/>
                <a:gd name="connsiteX8" fmla="*/ 325974 w 381902"/>
                <a:gd name="connsiteY8" fmla="*/ 582059 h 935919"/>
                <a:gd name="connsiteX9" fmla="*/ 320722 w 381902"/>
                <a:gd name="connsiteY9" fmla="*/ 582597 h 935919"/>
                <a:gd name="connsiteX10" fmla="*/ 217144 w 381902"/>
                <a:gd name="connsiteY10" fmla="*/ 935919 h 935919"/>
                <a:gd name="connsiteX11" fmla="*/ 164759 w 381902"/>
                <a:gd name="connsiteY11" fmla="*/ 935919 h 935919"/>
                <a:gd name="connsiteX12" fmla="*/ 61181 w 381902"/>
                <a:gd name="connsiteY12" fmla="*/ 582597 h 935919"/>
                <a:gd name="connsiteX13" fmla="*/ 55929 w 381902"/>
                <a:gd name="connsiteY13" fmla="*/ 582059 h 935919"/>
                <a:gd name="connsiteX14" fmla="*/ 0 w 381902"/>
                <a:gd name="connsiteY14" fmla="*/ 561567 h 935919"/>
                <a:gd name="connsiteX15" fmla="*/ 0 w 381902"/>
                <a:gd name="connsiteY15" fmla="*/ 387684 h 935919"/>
                <a:gd name="connsiteX16" fmla="*/ 15006 w 381902"/>
                <a:gd name="connsiteY16" fmla="*/ 376404 h 935919"/>
                <a:gd name="connsiteX17" fmla="*/ 30480 w 381902"/>
                <a:gd name="connsiteY17" fmla="*/ 372921 h 935919"/>
                <a:gd name="connsiteX18" fmla="*/ 30481 w 381902"/>
                <a:gd name="connsiteY18" fmla="*/ 40119 h 935919"/>
                <a:gd name="connsiteX19" fmla="*/ 30480 w 381902"/>
                <a:gd name="connsiteY19" fmla="*/ 40118 h 935919"/>
                <a:gd name="connsiteX20" fmla="*/ 190951 w 381902"/>
                <a:gd name="connsiteY20" fmla="*/ 0 h 935919"/>
                <a:gd name="connsiteX0" fmla="*/ 190951 w 381902"/>
                <a:gd name="connsiteY0" fmla="*/ 0 h 935919"/>
                <a:gd name="connsiteX1" fmla="*/ 190952 w 381902"/>
                <a:gd name="connsiteY1" fmla="*/ 0 h 935919"/>
                <a:gd name="connsiteX2" fmla="*/ 190952 w 381902"/>
                <a:gd name="connsiteY2" fmla="*/ 0 h 935919"/>
                <a:gd name="connsiteX3" fmla="*/ 351423 w 381902"/>
                <a:gd name="connsiteY3" fmla="*/ 40118 h 935919"/>
                <a:gd name="connsiteX4" fmla="*/ 351422 w 381902"/>
                <a:gd name="connsiteY4" fmla="*/ 372921 h 935919"/>
                <a:gd name="connsiteX5" fmla="*/ 366896 w 381902"/>
                <a:gd name="connsiteY5" fmla="*/ 376404 h 935919"/>
                <a:gd name="connsiteX6" fmla="*/ 381902 w 381902"/>
                <a:gd name="connsiteY6" fmla="*/ 387684 h 935919"/>
                <a:gd name="connsiteX7" fmla="*/ 381902 w 381902"/>
                <a:gd name="connsiteY7" fmla="*/ 561567 h 935919"/>
                <a:gd name="connsiteX8" fmla="*/ 325974 w 381902"/>
                <a:gd name="connsiteY8" fmla="*/ 582059 h 935919"/>
                <a:gd name="connsiteX9" fmla="*/ 320722 w 381902"/>
                <a:gd name="connsiteY9" fmla="*/ 582597 h 935919"/>
                <a:gd name="connsiteX10" fmla="*/ 217144 w 381902"/>
                <a:gd name="connsiteY10" fmla="*/ 935919 h 935919"/>
                <a:gd name="connsiteX11" fmla="*/ 164759 w 381902"/>
                <a:gd name="connsiteY11" fmla="*/ 935919 h 935919"/>
                <a:gd name="connsiteX12" fmla="*/ 61181 w 381902"/>
                <a:gd name="connsiteY12" fmla="*/ 582597 h 935919"/>
                <a:gd name="connsiteX13" fmla="*/ 55929 w 381902"/>
                <a:gd name="connsiteY13" fmla="*/ 582059 h 935919"/>
                <a:gd name="connsiteX14" fmla="*/ 0 w 381902"/>
                <a:gd name="connsiteY14" fmla="*/ 561567 h 935919"/>
                <a:gd name="connsiteX15" fmla="*/ 0 w 381902"/>
                <a:gd name="connsiteY15" fmla="*/ 387684 h 935919"/>
                <a:gd name="connsiteX16" fmla="*/ 30480 w 381902"/>
                <a:gd name="connsiteY16" fmla="*/ 372921 h 935919"/>
                <a:gd name="connsiteX17" fmla="*/ 30481 w 381902"/>
                <a:gd name="connsiteY17" fmla="*/ 40119 h 935919"/>
                <a:gd name="connsiteX18" fmla="*/ 30480 w 381902"/>
                <a:gd name="connsiteY18" fmla="*/ 40118 h 935919"/>
                <a:gd name="connsiteX19" fmla="*/ 190951 w 381902"/>
                <a:gd name="connsiteY19" fmla="*/ 0 h 935919"/>
                <a:gd name="connsiteX0" fmla="*/ 190951 w 381902"/>
                <a:gd name="connsiteY0" fmla="*/ 0 h 935919"/>
                <a:gd name="connsiteX1" fmla="*/ 190952 w 381902"/>
                <a:gd name="connsiteY1" fmla="*/ 0 h 935919"/>
                <a:gd name="connsiteX2" fmla="*/ 190952 w 381902"/>
                <a:gd name="connsiteY2" fmla="*/ 0 h 935919"/>
                <a:gd name="connsiteX3" fmla="*/ 351423 w 381902"/>
                <a:gd name="connsiteY3" fmla="*/ 40118 h 935919"/>
                <a:gd name="connsiteX4" fmla="*/ 351422 w 381902"/>
                <a:gd name="connsiteY4" fmla="*/ 372921 h 935919"/>
                <a:gd name="connsiteX5" fmla="*/ 366896 w 381902"/>
                <a:gd name="connsiteY5" fmla="*/ 376404 h 935919"/>
                <a:gd name="connsiteX6" fmla="*/ 381902 w 381902"/>
                <a:gd name="connsiteY6" fmla="*/ 387684 h 935919"/>
                <a:gd name="connsiteX7" fmla="*/ 381902 w 381902"/>
                <a:gd name="connsiteY7" fmla="*/ 561567 h 935919"/>
                <a:gd name="connsiteX8" fmla="*/ 325974 w 381902"/>
                <a:gd name="connsiteY8" fmla="*/ 582059 h 935919"/>
                <a:gd name="connsiteX9" fmla="*/ 320722 w 381902"/>
                <a:gd name="connsiteY9" fmla="*/ 582597 h 935919"/>
                <a:gd name="connsiteX10" fmla="*/ 217144 w 381902"/>
                <a:gd name="connsiteY10" fmla="*/ 935919 h 935919"/>
                <a:gd name="connsiteX11" fmla="*/ 164759 w 381902"/>
                <a:gd name="connsiteY11" fmla="*/ 935919 h 935919"/>
                <a:gd name="connsiteX12" fmla="*/ 61181 w 381902"/>
                <a:gd name="connsiteY12" fmla="*/ 582597 h 935919"/>
                <a:gd name="connsiteX13" fmla="*/ 55929 w 381902"/>
                <a:gd name="connsiteY13" fmla="*/ 582059 h 935919"/>
                <a:gd name="connsiteX14" fmla="*/ 0 w 381902"/>
                <a:gd name="connsiteY14" fmla="*/ 561567 h 935919"/>
                <a:gd name="connsiteX15" fmla="*/ 30480 w 381902"/>
                <a:gd name="connsiteY15" fmla="*/ 372921 h 935919"/>
                <a:gd name="connsiteX16" fmla="*/ 30481 w 381902"/>
                <a:gd name="connsiteY16" fmla="*/ 40119 h 935919"/>
                <a:gd name="connsiteX17" fmla="*/ 30480 w 381902"/>
                <a:gd name="connsiteY17" fmla="*/ 40118 h 935919"/>
                <a:gd name="connsiteX18" fmla="*/ 190951 w 381902"/>
                <a:gd name="connsiteY18" fmla="*/ 0 h 935919"/>
                <a:gd name="connsiteX0" fmla="*/ 160471 w 351422"/>
                <a:gd name="connsiteY0" fmla="*/ 0 h 935919"/>
                <a:gd name="connsiteX1" fmla="*/ 160472 w 351422"/>
                <a:gd name="connsiteY1" fmla="*/ 0 h 935919"/>
                <a:gd name="connsiteX2" fmla="*/ 160472 w 351422"/>
                <a:gd name="connsiteY2" fmla="*/ 0 h 935919"/>
                <a:gd name="connsiteX3" fmla="*/ 320943 w 351422"/>
                <a:gd name="connsiteY3" fmla="*/ 40118 h 935919"/>
                <a:gd name="connsiteX4" fmla="*/ 320942 w 351422"/>
                <a:gd name="connsiteY4" fmla="*/ 372921 h 935919"/>
                <a:gd name="connsiteX5" fmla="*/ 336416 w 351422"/>
                <a:gd name="connsiteY5" fmla="*/ 376404 h 935919"/>
                <a:gd name="connsiteX6" fmla="*/ 351422 w 351422"/>
                <a:gd name="connsiteY6" fmla="*/ 387684 h 935919"/>
                <a:gd name="connsiteX7" fmla="*/ 351422 w 351422"/>
                <a:gd name="connsiteY7" fmla="*/ 561567 h 935919"/>
                <a:gd name="connsiteX8" fmla="*/ 295494 w 351422"/>
                <a:gd name="connsiteY8" fmla="*/ 582059 h 935919"/>
                <a:gd name="connsiteX9" fmla="*/ 290242 w 351422"/>
                <a:gd name="connsiteY9" fmla="*/ 582597 h 935919"/>
                <a:gd name="connsiteX10" fmla="*/ 186664 w 351422"/>
                <a:gd name="connsiteY10" fmla="*/ 935919 h 935919"/>
                <a:gd name="connsiteX11" fmla="*/ 134279 w 351422"/>
                <a:gd name="connsiteY11" fmla="*/ 935919 h 935919"/>
                <a:gd name="connsiteX12" fmla="*/ 30701 w 351422"/>
                <a:gd name="connsiteY12" fmla="*/ 582597 h 935919"/>
                <a:gd name="connsiteX13" fmla="*/ 25449 w 351422"/>
                <a:gd name="connsiteY13" fmla="*/ 582059 h 935919"/>
                <a:gd name="connsiteX14" fmla="*/ 0 w 351422"/>
                <a:gd name="connsiteY14" fmla="*/ 372921 h 935919"/>
                <a:gd name="connsiteX15" fmla="*/ 1 w 351422"/>
                <a:gd name="connsiteY15" fmla="*/ 40119 h 935919"/>
                <a:gd name="connsiteX16" fmla="*/ 0 w 351422"/>
                <a:gd name="connsiteY16" fmla="*/ 40118 h 935919"/>
                <a:gd name="connsiteX17" fmla="*/ 160471 w 351422"/>
                <a:gd name="connsiteY17" fmla="*/ 0 h 935919"/>
                <a:gd name="connsiteX0" fmla="*/ 160471 w 351422"/>
                <a:gd name="connsiteY0" fmla="*/ 0 h 935919"/>
                <a:gd name="connsiteX1" fmla="*/ 160472 w 351422"/>
                <a:gd name="connsiteY1" fmla="*/ 0 h 935919"/>
                <a:gd name="connsiteX2" fmla="*/ 160472 w 351422"/>
                <a:gd name="connsiteY2" fmla="*/ 0 h 935919"/>
                <a:gd name="connsiteX3" fmla="*/ 320943 w 351422"/>
                <a:gd name="connsiteY3" fmla="*/ 40118 h 935919"/>
                <a:gd name="connsiteX4" fmla="*/ 320942 w 351422"/>
                <a:gd name="connsiteY4" fmla="*/ 372921 h 935919"/>
                <a:gd name="connsiteX5" fmla="*/ 336416 w 351422"/>
                <a:gd name="connsiteY5" fmla="*/ 376404 h 935919"/>
                <a:gd name="connsiteX6" fmla="*/ 351422 w 351422"/>
                <a:gd name="connsiteY6" fmla="*/ 387684 h 935919"/>
                <a:gd name="connsiteX7" fmla="*/ 351422 w 351422"/>
                <a:gd name="connsiteY7" fmla="*/ 561567 h 935919"/>
                <a:gd name="connsiteX8" fmla="*/ 295494 w 351422"/>
                <a:gd name="connsiteY8" fmla="*/ 582059 h 935919"/>
                <a:gd name="connsiteX9" fmla="*/ 290242 w 351422"/>
                <a:gd name="connsiteY9" fmla="*/ 582597 h 935919"/>
                <a:gd name="connsiteX10" fmla="*/ 186664 w 351422"/>
                <a:gd name="connsiteY10" fmla="*/ 935919 h 935919"/>
                <a:gd name="connsiteX11" fmla="*/ 134279 w 351422"/>
                <a:gd name="connsiteY11" fmla="*/ 935919 h 935919"/>
                <a:gd name="connsiteX12" fmla="*/ 30701 w 351422"/>
                <a:gd name="connsiteY12" fmla="*/ 582597 h 935919"/>
                <a:gd name="connsiteX13" fmla="*/ 0 w 351422"/>
                <a:gd name="connsiteY13" fmla="*/ 372921 h 935919"/>
                <a:gd name="connsiteX14" fmla="*/ 1 w 351422"/>
                <a:gd name="connsiteY14" fmla="*/ 40119 h 935919"/>
                <a:gd name="connsiteX15" fmla="*/ 0 w 351422"/>
                <a:gd name="connsiteY15" fmla="*/ 40118 h 935919"/>
                <a:gd name="connsiteX16" fmla="*/ 160471 w 351422"/>
                <a:gd name="connsiteY16" fmla="*/ 0 h 935919"/>
                <a:gd name="connsiteX0" fmla="*/ 160471 w 353031"/>
                <a:gd name="connsiteY0" fmla="*/ 0 h 935919"/>
                <a:gd name="connsiteX1" fmla="*/ 160472 w 353031"/>
                <a:gd name="connsiteY1" fmla="*/ 0 h 935919"/>
                <a:gd name="connsiteX2" fmla="*/ 160472 w 353031"/>
                <a:gd name="connsiteY2" fmla="*/ 0 h 935919"/>
                <a:gd name="connsiteX3" fmla="*/ 320943 w 353031"/>
                <a:gd name="connsiteY3" fmla="*/ 40118 h 935919"/>
                <a:gd name="connsiteX4" fmla="*/ 320942 w 353031"/>
                <a:gd name="connsiteY4" fmla="*/ 372921 h 935919"/>
                <a:gd name="connsiteX5" fmla="*/ 336416 w 353031"/>
                <a:gd name="connsiteY5" fmla="*/ 376404 h 935919"/>
                <a:gd name="connsiteX6" fmla="*/ 351422 w 353031"/>
                <a:gd name="connsiteY6" fmla="*/ 561567 h 935919"/>
                <a:gd name="connsiteX7" fmla="*/ 295494 w 353031"/>
                <a:gd name="connsiteY7" fmla="*/ 582059 h 935919"/>
                <a:gd name="connsiteX8" fmla="*/ 290242 w 353031"/>
                <a:gd name="connsiteY8" fmla="*/ 582597 h 935919"/>
                <a:gd name="connsiteX9" fmla="*/ 186664 w 353031"/>
                <a:gd name="connsiteY9" fmla="*/ 935919 h 935919"/>
                <a:gd name="connsiteX10" fmla="*/ 134279 w 353031"/>
                <a:gd name="connsiteY10" fmla="*/ 935919 h 935919"/>
                <a:gd name="connsiteX11" fmla="*/ 30701 w 353031"/>
                <a:gd name="connsiteY11" fmla="*/ 582597 h 935919"/>
                <a:gd name="connsiteX12" fmla="*/ 0 w 353031"/>
                <a:gd name="connsiteY12" fmla="*/ 372921 h 935919"/>
                <a:gd name="connsiteX13" fmla="*/ 1 w 353031"/>
                <a:gd name="connsiteY13" fmla="*/ 40119 h 935919"/>
                <a:gd name="connsiteX14" fmla="*/ 0 w 353031"/>
                <a:gd name="connsiteY14" fmla="*/ 40118 h 935919"/>
                <a:gd name="connsiteX15" fmla="*/ 160471 w 353031"/>
                <a:gd name="connsiteY15" fmla="*/ 0 h 935919"/>
                <a:gd name="connsiteX0" fmla="*/ 160471 w 351422"/>
                <a:gd name="connsiteY0" fmla="*/ 0 h 935919"/>
                <a:gd name="connsiteX1" fmla="*/ 160472 w 351422"/>
                <a:gd name="connsiteY1" fmla="*/ 0 h 935919"/>
                <a:gd name="connsiteX2" fmla="*/ 160472 w 351422"/>
                <a:gd name="connsiteY2" fmla="*/ 0 h 935919"/>
                <a:gd name="connsiteX3" fmla="*/ 320943 w 351422"/>
                <a:gd name="connsiteY3" fmla="*/ 40118 h 935919"/>
                <a:gd name="connsiteX4" fmla="*/ 320942 w 351422"/>
                <a:gd name="connsiteY4" fmla="*/ 372921 h 935919"/>
                <a:gd name="connsiteX5" fmla="*/ 351422 w 351422"/>
                <a:gd name="connsiteY5" fmla="*/ 561567 h 935919"/>
                <a:gd name="connsiteX6" fmla="*/ 295494 w 351422"/>
                <a:gd name="connsiteY6" fmla="*/ 582059 h 935919"/>
                <a:gd name="connsiteX7" fmla="*/ 290242 w 351422"/>
                <a:gd name="connsiteY7" fmla="*/ 582597 h 935919"/>
                <a:gd name="connsiteX8" fmla="*/ 186664 w 351422"/>
                <a:gd name="connsiteY8" fmla="*/ 935919 h 935919"/>
                <a:gd name="connsiteX9" fmla="*/ 134279 w 351422"/>
                <a:gd name="connsiteY9" fmla="*/ 935919 h 935919"/>
                <a:gd name="connsiteX10" fmla="*/ 30701 w 351422"/>
                <a:gd name="connsiteY10" fmla="*/ 582597 h 935919"/>
                <a:gd name="connsiteX11" fmla="*/ 0 w 351422"/>
                <a:gd name="connsiteY11" fmla="*/ 372921 h 935919"/>
                <a:gd name="connsiteX12" fmla="*/ 1 w 351422"/>
                <a:gd name="connsiteY12" fmla="*/ 40119 h 935919"/>
                <a:gd name="connsiteX13" fmla="*/ 0 w 351422"/>
                <a:gd name="connsiteY13" fmla="*/ 40118 h 935919"/>
                <a:gd name="connsiteX14" fmla="*/ 160471 w 351422"/>
                <a:gd name="connsiteY14" fmla="*/ 0 h 935919"/>
                <a:gd name="connsiteX0" fmla="*/ 160471 w 320943"/>
                <a:gd name="connsiteY0" fmla="*/ 0 h 935919"/>
                <a:gd name="connsiteX1" fmla="*/ 160472 w 320943"/>
                <a:gd name="connsiteY1" fmla="*/ 0 h 935919"/>
                <a:gd name="connsiteX2" fmla="*/ 160472 w 320943"/>
                <a:gd name="connsiteY2" fmla="*/ 0 h 935919"/>
                <a:gd name="connsiteX3" fmla="*/ 320943 w 320943"/>
                <a:gd name="connsiteY3" fmla="*/ 40118 h 935919"/>
                <a:gd name="connsiteX4" fmla="*/ 320942 w 320943"/>
                <a:gd name="connsiteY4" fmla="*/ 372921 h 935919"/>
                <a:gd name="connsiteX5" fmla="*/ 295494 w 320943"/>
                <a:gd name="connsiteY5" fmla="*/ 582059 h 935919"/>
                <a:gd name="connsiteX6" fmla="*/ 290242 w 320943"/>
                <a:gd name="connsiteY6" fmla="*/ 582597 h 935919"/>
                <a:gd name="connsiteX7" fmla="*/ 186664 w 320943"/>
                <a:gd name="connsiteY7" fmla="*/ 935919 h 935919"/>
                <a:gd name="connsiteX8" fmla="*/ 134279 w 320943"/>
                <a:gd name="connsiteY8" fmla="*/ 935919 h 935919"/>
                <a:gd name="connsiteX9" fmla="*/ 30701 w 320943"/>
                <a:gd name="connsiteY9" fmla="*/ 582597 h 935919"/>
                <a:gd name="connsiteX10" fmla="*/ 0 w 320943"/>
                <a:gd name="connsiteY10" fmla="*/ 372921 h 935919"/>
                <a:gd name="connsiteX11" fmla="*/ 1 w 320943"/>
                <a:gd name="connsiteY11" fmla="*/ 40119 h 935919"/>
                <a:gd name="connsiteX12" fmla="*/ 0 w 320943"/>
                <a:gd name="connsiteY12" fmla="*/ 40118 h 935919"/>
                <a:gd name="connsiteX13" fmla="*/ 160471 w 320943"/>
                <a:gd name="connsiteY13" fmla="*/ 0 h 935919"/>
                <a:gd name="connsiteX0" fmla="*/ 160471 w 320943"/>
                <a:gd name="connsiteY0" fmla="*/ 0 h 935919"/>
                <a:gd name="connsiteX1" fmla="*/ 160472 w 320943"/>
                <a:gd name="connsiteY1" fmla="*/ 0 h 935919"/>
                <a:gd name="connsiteX2" fmla="*/ 160472 w 320943"/>
                <a:gd name="connsiteY2" fmla="*/ 0 h 935919"/>
                <a:gd name="connsiteX3" fmla="*/ 320943 w 320943"/>
                <a:gd name="connsiteY3" fmla="*/ 40118 h 935919"/>
                <a:gd name="connsiteX4" fmla="*/ 320942 w 320943"/>
                <a:gd name="connsiteY4" fmla="*/ 372921 h 935919"/>
                <a:gd name="connsiteX5" fmla="*/ 295494 w 320943"/>
                <a:gd name="connsiteY5" fmla="*/ 582059 h 935919"/>
                <a:gd name="connsiteX6" fmla="*/ 186664 w 320943"/>
                <a:gd name="connsiteY6" fmla="*/ 935919 h 935919"/>
                <a:gd name="connsiteX7" fmla="*/ 134279 w 320943"/>
                <a:gd name="connsiteY7" fmla="*/ 935919 h 935919"/>
                <a:gd name="connsiteX8" fmla="*/ 30701 w 320943"/>
                <a:gd name="connsiteY8" fmla="*/ 582597 h 935919"/>
                <a:gd name="connsiteX9" fmla="*/ 0 w 320943"/>
                <a:gd name="connsiteY9" fmla="*/ 372921 h 935919"/>
                <a:gd name="connsiteX10" fmla="*/ 1 w 320943"/>
                <a:gd name="connsiteY10" fmla="*/ 40119 h 935919"/>
                <a:gd name="connsiteX11" fmla="*/ 0 w 320943"/>
                <a:gd name="connsiteY11" fmla="*/ 40118 h 935919"/>
                <a:gd name="connsiteX12" fmla="*/ 160471 w 320943"/>
                <a:gd name="connsiteY12" fmla="*/ 0 h 935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20943" h="935919">
                  <a:moveTo>
                    <a:pt x="160471" y="0"/>
                  </a:moveTo>
                  <a:lnTo>
                    <a:pt x="160472" y="0"/>
                  </a:lnTo>
                  <a:lnTo>
                    <a:pt x="160472" y="0"/>
                  </a:lnTo>
                  <a:cubicBezTo>
                    <a:pt x="249098" y="0"/>
                    <a:pt x="320943" y="17961"/>
                    <a:pt x="320943" y="40118"/>
                  </a:cubicBezTo>
                  <a:cubicBezTo>
                    <a:pt x="320943" y="151052"/>
                    <a:pt x="320942" y="261987"/>
                    <a:pt x="320942" y="372921"/>
                  </a:cubicBezTo>
                  <a:lnTo>
                    <a:pt x="295494" y="582059"/>
                  </a:lnTo>
                  <a:lnTo>
                    <a:pt x="186664" y="935919"/>
                  </a:lnTo>
                  <a:lnTo>
                    <a:pt x="134279" y="935919"/>
                  </a:lnTo>
                  <a:lnTo>
                    <a:pt x="30701" y="582597"/>
                  </a:lnTo>
                  <a:lnTo>
                    <a:pt x="0" y="372921"/>
                  </a:lnTo>
                  <a:cubicBezTo>
                    <a:pt x="0" y="261987"/>
                    <a:pt x="1" y="151053"/>
                    <a:pt x="1" y="40119"/>
                  </a:cubicBezTo>
                  <a:lnTo>
                    <a:pt x="0" y="40118"/>
                  </a:lnTo>
                  <a:cubicBezTo>
                    <a:pt x="0" y="17961"/>
                    <a:pt x="71845" y="0"/>
                    <a:pt x="160471" y="0"/>
                  </a:cubicBezTo>
                  <a:close/>
                </a:path>
              </a:pathLst>
            </a:cu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67" name="Group 54">
            <a:extLst>
              <a:ext uri="{FF2B5EF4-FFF2-40B4-BE49-F238E27FC236}">
                <a16:creationId xmlns:a16="http://schemas.microsoft.com/office/drawing/2014/main" id="{6B974FC2-AB84-404B-AA5A-EEBC21E23F6D}"/>
              </a:ext>
            </a:extLst>
          </p:cNvPr>
          <p:cNvGrpSpPr/>
          <p:nvPr/>
        </p:nvGrpSpPr>
        <p:grpSpPr>
          <a:xfrm>
            <a:off x="5245796" y="3457078"/>
            <a:ext cx="674237" cy="660558"/>
            <a:chOff x="9410846" y="4660255"/>
            <a:chExt cx="757937" cy="835669"/>
          </a:xfrm>
          <a:noFill/>
        </p:grpSpPr>
        <p:sp>
          <p:nvSpPr>
            <p:cNvPr id="268" name="Rectangle: Rounded Corners 55">
              <a:extLst>
                <a:ext uri="{FF2B5EF4-FFF2-40B4-BE49-F238E27FC236}">
                  <a16:creationId xmlns:a16="http://schemas.microsoft.com/office/drawing/2014/main" id="{71FCC15A-0B56-1D4A-B1FE-BB435A454DA0}"/>
                </a:ext>
              </a:extLst>
            </p:cNvPr>
            <p:cNvSpPr/>
            <p:nvPr/>
          </p:nvSpPr>
          <p:spPr>
            <a:xfrm>
              <a:off x="9410846" y="5387069"/>
              <a:ext cx="757937" cy="108855"/>
            </a:xfrm>
            <a:prstGeom prst="roundRect">
              <a:avLst>
                <a:gd name="adj" fmla="val 40272"/>
              </a:avLst>
            </a:pr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9" name="Freeform: Shape 56">
              <a:extLst>
                <a:ext uri="{FF2B5EF4-FFF2-40B4-BE49-F238E27FC236}">
                  <a16:creationId xmlns:a16="http://schemas.microsoft.com/office/drawing/2014/main" id="{3DAE2862-6BA3-AB4E-99B1-CD4B612287F1}"/>
                </a:ext>
              </a:extLst>
            </p:cNvPr>
            <p:cNvSpPr>
              <a:spLocks/>
            </p:cNvSpPr>
            <p:nvPr/>
          </p:nvSpPr>
          <p:spPr>
            <a:xfrm>
              <a:off x="9453900" y="4890264"/>
              <a:ext cx="671830" cy="473051"/>
            </a:xfrm>
            <a:custGeom>
              <a:avLst/>
              <a:gdLst>
                <a:gd name="connsiteX0" fmla="*/ 118630 w 504164"/>
                <a:gd name="connsiteY0" fmla="*/ 0 h 427688"/>
                <a:gd name="connsiteX1" fmla="*/ 385534 w 504164"/>
                <a:gd name="connsiteY1" fmla="*/ 0 h 427688"/>
                <a:gd name="connsiteX2" fmla="*/ 504164 w 504164"/>
                <a:gd name="connsiteY2" fmla="*/ 159563 h 427688"/>
                <a:gd name="connsiteX3" fmla="*/ 501714 w 504164"/>
                <a:gd name="connsiteY3" fmla="*/ 159563 h 427688"/>
                <a:gd name="connsiteX4" fmla="*/ 504164 w 504164"/>
                <a:gd name="connsiteY4" fmla="*/ 162328 h 427688"/>
                <a:gd name="connsiteX5" fmla="*/ 504164 w 504164"/>
                <a:gd name="connsiteY5" fmla="*/ 399014 h 427688"/>
                <a:gd name="connsiteX6" fmla="*/ 252082 w 504164"/>
                <a:gd name="connsiteY6" fmla="*/ 427688 h 427688"/>
                <a:gd name="connsiteX7" fmla="*/ 0 w 504164"/>
                <a:gd name="connsiteY7" fmla="*/ 399014 h 427688"/>
                <a:gd name="connsiteX8" fmla="*/ 0 w 504164"/>
                <a:gd name="connsiteY8" fmla="*/ 162328 h 427688"/>
                <a:gd name="connsiteX9" fmla="*/ 2450 w 504164"/>
                <a:gd name="connsiteY9" fmla="*/ 159563 h 427688"/>
                <a:gd name="connsiteX10" fmla="*/ 0 w 504164"/>
                <a:gd name="connsiteY10" fmla="*/ 159563 h 427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04164" h="427688">
                  <a:moveTo>
                    <a:pt x="118630" y="0"/>
                  </a:moveTo>
                  <a:lnTo>
                    <a:pt x="385534" y="0"/>
                  </a:lnTo>
                  <a:lnTo>
                    <a:pt x="504164" y="159563"/>
                  </a:lnTo>
                  <a:lnTo>
                    <a:pt x="501714" y="159563"/>
                  </a:lnTo>
                  <a:lnTo>
                    <a:pt x="504164" y="162328"/>
                  </a:lnTo>
                  <a:lnTo>
                    <a:pt x="504164" y="399014"/>
                  </a:lnTo>
                  <a:cubicBezTo>
                    <a:pt x="504164" y="414850"/>
                    <a:pt x="391303" y="427688"/>
                    <a:pt x="252082" y="427688"/>
                  </a:cubicBezTo>
                  <a:cubicBezTo>
                    <a:pt x="112861" y="427688"/>
                    <a:pt x="0" y="414850"/>
                    <a:pt x="0" y="399014"/>
                  </a:cubicBezTo>
                  <a:lnTo>
                    <a:pt x="0" y="162328"/>
                  </a:lnTo>
                  <a:lnTo>
                    <a:pt x="2450" y="159563"/>
                  </a:lnTo>
                  <a:lnTo>
                    <a:pt x="0" y="159563"/>
                  </a:lnTo>
                  <a:close/>
                </a:path>
              </a:pathLst>
            </a:cu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0" name="Trapezoid 57">
              <a:extLst>
                <a:ext uri="{FF2B5EF4-FFF2-40B4-BE49-F238E27FC236}">
                  <a16:creationId xmlns:a16="http://schemas.microsoft.com/office/drawing/2014/main" id="{40E0174A-87CF-774E-A237-0EF8FE90C9F2}"/>
                </a:ext>
              </a:extLst>
            </p:cNvPr>
            <p:cNvSpPr>
              <a:spLocks/>
            </p:cNvSpPr>
            <p:nvPr/>
          </p:nvSpPr>
          <p:spPr>
            <a:xfrm flipV="1">
              <a:off x="9453900" y="5326883"/>
              <a:ext cx="671830" cy="91395"/>
            </a:xfrm>
            <a:prstGeom prst="trapezoid">
              <a:avLst>
                <a:gd name="adj" fmla="val 157674"/>
              </a:avLst>
            </a:pr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1" name="Oval 58">
              <a:extLst>
                <a:ext uri="{FF2B5EF4-FFF2-40B4-BE49-F238E27FC236}">
                  <a16:creationId xmlns:a16="http://schemas.microsoft.com/office/drawing/2014/main" id="{903D5184-CA2F-7547-BA66-0C3096704609}"/>
                </a:ext>
              </a:extLst>
            </p:cNvPr>
            <p:cNvSpPr/>
            <p:nvPr/>
          </p:nvSpPr>
          <p:spPr>
            <a:xfrm>
              <a:off x="9620579" y="4839198"/>
              <a:ext cx="338471" cy="102133"/>
            </a:xfrm>
            <a:prstGeom prst="ellipse">
              <a:avLst/>
            </a:prstGeom>
            <a:grpFill/>
            <a:ln w="63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72" name="Group 59">
              <a:extLst>
                <a:ext uri="{FF2B5EF4-FFF2-40B4-BE49-F238E27FC236}">
                  <a16:creationId xmlns:a16="http://schemas.microsoft.com/office/drawing/2014/main" id="{CCE82FCC-9A8F-4849-9B39-6E5183B58333}"/>
                </a:ext>
              </a:extLst>
            </p:cNvPr>
            <p:cNvGrpSpPr/>
            <p:nvPr/>
          </p:nvGrpSpPr>
          <p:grpSpPr>
            <a:xfrm>
              <a:off x="9692625" y="4660255"/>
              <a:ext cx="194378" cy="204948"/>
              <a:chOff x="9498774" y="4473931"/>
              <a:chExt cx="181542" cy="191414"/>
            </a:xfrm>
            <a:grpFill/>
          </p:grpSpPr>
          <p:sp>
            <p:nvSpPr>
              <p:cNvPr id="273" name="Cylinder 272">
                <a:extLst>
                  <a:ext uri="{FF2B5EF4-FFF2-40B4-BE49-F238E27FC236}">
                    <a16:creationId xmlns:a16="http://schemas.microsoft.com/office/drawing/2014/main" id="{1410831A-C1F3-874A-84E9-853D7A3A1273}"/>
                  </a:ext>
                </a:extLst>
              </p:cNvPr>
              <p:cNvSpPr/>
              <p:nvPr/>
            </p:nvSpPr>
            <p:spPr>
              <a:xfrm>
                <a:off x="9498774" y="4473931"/>
                <a:ext cx="69413" cy="191414"/>
              </a:xfrm>
              <a:prstGeom prst="can">
                <a:avLst>
                  <a:gd name="adj" fmla="val 43367"/>
                </a:avLst>
              </a:prstGeom>
              <a:grpFill/>
              <a:ln w="63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4" name="Cylinder 273">
                <a:extLst>
                  <a:ext uri="{FF2B5EF4-FFF2-40B4-BE49-F238E27FC236}">
                    <a16:creationId xmlns:a16="http://schemas.microsoft.com/office/drawing/2014/main" id="{393C5DE0-4942-6D40-919C-D53CC554D1C0}"/>
                  </a:ext>
                </a:extLst>
              </p:cNvPr>
              <p:cNvSpPr/>
              <p:nvPr/>
            </p:nvSpPr>
            <p:spPr>
              <a:xfrm>
                <a:off x="9610903" y="4473931"/>
                <a:ext cx="69413" cy="191414"/>
              </a:xfrm>
              <a:prstGeom prst="can">
                <a:avLst>
                  <a:gd name="adj" fmla="val 43367"/>
                </a:avLst>
              </a:prstGeom>
              <a:grpFill/>
              <a:ln w="63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75" name="TextBox 62">
            <a:extLst>
              <a:ext uri="{FF2B5EF4-FFF2-40B4-BE49-F238E27FC236}">
                <a16:creationId xmlns:a16="http://schemas.microsoft.com/office/drawing/2014/main" id="{38257E2D-B21E-184F-A799-E17211B56108}"/>
              </a:ext>
            </a:extLst>
          </p:cNvPr>
          <p:cNvSpPr txBox="1"/>
          <p:nvPr/>
        </p:nvSpPr>
        <p:spPr>
          <a:xfrm>
            <a:off x="5152721" y="4246941"/>
            <a:ext cx="883383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5760" lvl="2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3pPr>
            <a:lvl4pPr marL="548640" lvl="3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4pPr>
            <a:lvl5pPr marL="731520" lvl="4" indent="-180054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en-US" sz="1200">
                <a:solidFill>
                  <a:srgbClr val="FFFFFF"/>
                </a:solidFill>
              </a:rPr>
              <a:t>Electric Arc </a:t>
            </a:r>
          </a:p>
          <a:p>
            <a:pPr algn="ctr">
              <a:buClr>
                <a:srgbClr val="000000"/>
              </a:buClr>
              <a:defRPr/>
            </a:pPr>
            <a:r>
              <a:rPr lang="en-US" sz="1200">
                <a:solidFill>
                  <a:srgbClr val="FFFFFF"/>
                </a:solidFill>
              </a:rPr>
              <a:t>Furnace</a:t>
            </a:r>
          </a:p>
        </p:txBody>
      </p:sp>
      <p:grpSp>
        <p:nvGrpSpPr>
          <p:cNvPr id="276" name="Group 69">
            <a:extLst>
              <a:ext uri="{FF2B5EF4-FFF2-40B4-BE49-F238E27FC236}">
                <a16:creationId xmlns:a16="http://schemas.microsoft.com/office/drawing/2014/main" id="{7FAB6A5C-E0FF-9C4C-AA8D-9DD1EF306A58}"/>
              </a:ext>
            </a:extLst>
          </p:cNvPr>
          <p:cNvGrpSpPr/>
          <p:nvPr/>
        </p:nvGrpSpPr>
        <p:grpSpPr>
          <a:xfrm>
            <a:off x="9145180" y="3522419"/>
            <a:ext cx="484351" cy="491941"/>
            <a:chOff x="5093890" y="-106363"/>
            <a:chExt cx="874713" cy="1208088"/>
          </a:xfrm>
          <a:noFill/>
        </p:grpSpPr>
        <p:grpSp>
          <p:nvGrpSpPr>
            <p:cNvPr id="277" name="Group 70">
              <a:extLst>
                <a:ext uri="{FF2B5EF4-FFF2-40B4-BE49-F238E27FC236}">
                  <a16:creationId xmlns:a16="http://schemas.microsoft.com/office/drawing/2014/main" id="{90C9DAF9-291E-D84A-91F8-CEE4332E649B}"/>
                </a:ext>
              </a:extLst>
            </p:cNvPr>
            <p:cNvGrpSpPr/>
            <p:nvPr/>
          </p:nvGrpSpPr>
          <p:grpSpPr>
            <a:xfrm>
              <a:off x="5093890" y="449262"/>
              <a:ext cx="874713" cy="652463"/>
              <a:chOff x="4048125" y="1651001"/>
              <a:chExt cx="874713" cy="652463"/>
            </a:xfrm>
            <a:grpFill/>
          </p:grpSpPr>
          <p:sp>
            <p:nvSpPr>
              <p:cNvPr id="290" name="Freeform 110">
                <a:extLst>
                  <a:ext uri="{FF2B5EF4-FFF2-40B4-BE49-F238E27FC236}">
                    <a16:creationId xmlns:a16="http://schemas.microsoft.com/office/drawing/2014/main" id="{94BC7854-5485-3C46-AA4B-3BC0E9730A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8125" y="1651001"/>
                <a:ext cx="874713" cy="652463"/>
              </a:xfrm>
              <a:custGeom>
                <a:avLst/>
                <a:gdLst>
                  <a:gd name="T0" fmla="*/ 2302 w 2893"/>
                  <a:gd name="T1" fmla="*/ 0 h 2156"/>
                  <a:gd name="T2" fmla="*/ 590 w 2893"/>
                  <a:gd name="T3" fmla="*/ 0 h 2156"/>
                  <a:gd name="T4" fmla="*/ 0 w 2893"/>
                  <a:gd name="T5" fmla="*/ 1347 h 2156"/>
                  <a:gd name="T6" fmla="*/ 0 w 2893"/>
                  <a:gd name="T7" fmla="*/ 2069 h 2156"/>
                  <a:gd name="T8" fmla="*/ 87 w 2893"/>
                  <a:gd name="T9" fmla="*/ 2156 h 2156"/>
                  <a:gd name="T10" fmla="*/ 2805 w 2893"/>
                  <a:gd name="T11" fmla="*/ 2156 h 2156"/>
                  <a:gd name="T12" fmla="*/ 2893 w 2893"/>
                  <a:gd name="T13" fmla="*/ 2069 h 2156"/>
                  <a:gd name="T14" fmla="*/ 2893 w 2893"/>
                  <a:gd name="T15" fmla="*/ 1347 h 2156"/>
                  <a:gd name="T16" fmla="*/ 2302 w 2893"/>
                  <a:gd name="T17" fmla="*/ 0 h 2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93" h="2156">
                    <a:moveTo>
                      <a:pt x="2302" y="0"/>
                    </a:moveTo>
                    <a:lnTo>
                      <a:pt x="590" y="0"/>
                    </a:lnTo>
                    <a:lnTo>
                      <a:pt x="0" y="1347"/>
                    </a:lnTo>
                    <a:lnTo>
                      <a:pt x="0" y="2069"/>
                    </a:lnTo>
                    <a:cubicBezTo>
                      <a:pt x="0" y="2117"/>
                      <a:pt x="39" y="2156"/>
                      <a:pt x="87" y="2156"/>
                    </a:cubicBezTo>
                    <a:lnTo>
                      <a:pt x="2805" y="2156"/>
                    </a:lnTo>
                    <a:cubicBezTo>
                      <a:pt x="2853" y="2156"/>
                      <a:pt x="2893" y="2117"/>
                      <a:pt x="2893" y="2069"/>
                    </a:cubicBezTo>
                    <a:lnTo>
                      <a:pt x="2893" y="1347"/>
                    </a:lnTo>
                    <a:lnTo>
                      <a:pt x="2302" y="0"/>
                    </a:lnTo>
                    <a:close/>
                  </a:path>
                </a:pathLst>
              </a:custGeom>
              <a:grpFill/>
              <a:ln w="952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91" name="Freeform 111">
                <a:extLst>
                  <a:ext uri="{FF2B5EF4-FFF2-40B4-BE49-F238E27FC236}">
                    <a16:creationId xmlns:a16="http://schemas.microsoft.com/office/drawing/2014/main" id="{32C704C2-75C0-9E4B-BA1C-9A0793D69B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225" y="1651001"/>
                <a:ext cx="84138" cy="652463"/>
              </a:xfrm>
              <a:custGeom>
                <a:avLst/>
                <a:gdLst>
                  <a:gd name="T0" fmla="*/ 218 w 280"/>
                  <a:gd name="T1" fmla="*/ 0 h 2156"/>
                  <a:gd name="T2" fmla="*/ 0 w 280"/>
                  <a:gd name="T3" fmla="*/ 1347 h 2156"/>
                  <a:gd name="T4" fmla="*/ 0 w 280"/>
                  <a:gd name="T5" fmla="*/ 1627 h 2156"/>
                  <a:gd name="T6" fmla="*/ 171 w 280"/>
                  <a:gd name="T7" fmla="*/ 1627 h 2156"/>
                  <a:gd name="T8" fmla="*/ 280 w 280"/>
                  <a:gd name="T9" fmla="*/ 1736 h 2156"/>
                  <a:gd name="T10" fmla="*/ 171 w 280"/>
                  <a:gd name="T11" fmla="*/ 1845 h 2156"/>
                  <a:gd name="T12" fmla="*/ 0 w 280"/>
                  <a:gd name="T13" fmla="*/ 1845 h 2156"/>
                  <a:gd name="T14" fmla="*/ 0 w 280"/>
                  <a:gd name="T15" fmla="*/ 2156 h 2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0" h="2156">
                    <a:moveTo>
                      <a:pt x="218" y="0"/>
                    </a:moveTo>
                    <a:lnTo>
                      <a:pt x="0" y="1347"/>
                    </a:lnTo>
                    <a:lnTo>
                      <a:pt x="0" y="1627"/>
                    </a:lnTo>
                    <a:lnTo>
                      <a:pt x="171" y="1627"/>
                    </a:lnTo>
                    <a:cubicBezTo>
                      <a:pt x="231" y="1627"/>
                      <a:pt x="280" y="1676"/>
                      <a:pt x="280" y="1736"/>
                    </a:cubicBezTo>
                    <a:cubicBezTo>
                      <a:pt x="280" y="1796"/>
                      <a:pt x="231" y="1845"/>
                      <a:pt x="171" y="1845"/>
                    </a:cubicBezTo>
                    <a:lnTo>
                      <a:pt x="0" y="1845"/>
                    </a:lnTo>
                    <a:lnTo>
                      <a:pt x="0" y="2156"/>
                    </a:lnTo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92" name="Freeform 112">
                <a:extLst>
                  <a:ext uri="{FF2B5EF4-FFF2-40B4-BE49-F238E27FC236}">
                    <a16:creationId xmlns:a16="http://schemas.microsoft.com/office/drawing/2014/main" id="{F59B7467-5872-DE42-9078-BB048D4D55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5650" y="1651001"/>
                <a:ext cx="150813" cy="652463"/>
              </a:xfrm>
              <a:custGeom>
                <a:avLst/>
                <a:gdLst>
                  <a:gd name="T0" fmla="*/ 0 w 498"/>
                  <a:gd name="T1" fmla="*/ 0 h 2156"/>
                  <a:gd name="T2" fmla="*/ 218 w 498"/>
                  <a:gd name="T3" fmla="*/ 1347 h 2156"/>
                  <a:gd name="T4" fmla="*/ 218 w 498"/>
                  <a:gd name="T5" fmla="*/ 1347 h 2156"/>
                  <a:gd name="T6" fmla="*/ 218 w 498"/>
                  <a:gd name="T7" fmla="*/ 1627 h 2156"/>
                  <a:gd name="T8" fmla="*/ 389 w 498"/>
                  <a:gd name="T9" fmla="*/ 1627 h 2156"/>
                  <a:gd name="T10" fmla="*/ 498 w 498"/>
                  <a:gd name="T11" fmla="*/ 1736 h 2156"/>
                  <a:gd name="T12" fmla="*/ 389 w 498"/>
                  <a:gd name="T13" fmla="*/ 1845 h 2156"/>
                  <a:gd name="T14" fmla="*/ 218 w 498"/>
                  <a:gd name="T15" fmla="*/ 1845 h 2156"/>
                  <a:gd name="T16" fmla="*/ 218 w 498"/>
                  <a:gd name="T17" fmla="*/ 2156 h 2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8" h="2156">
                    <a:moveTo>
                      <a:pt x="0" y="0"/>
                    </a:moveTo>
                    <a:lnTo>
                      <a:pt x="218" y="1347"/>
                    </a:lnTo>
                    <a:lnTo>
                      <a:pt x="218" y="1347"/>
                    </a:lnTo>
                    <a:lnTo>
                      <a:pt x="218" y="1627"/>
                    </a:lnTo>
                    <a:lnTo>
                      <a:pt x="389" y="1627"/>
                    </a:lnTo>
                    <a:cubicBezTo>
                      <a:pt x="450" y="1627"/>
                      <a:pt x="498" y="1676"/>
                      <a:pt x="498" y="1736"/>
                    </a:cubicBezTo>
                    <a:cubicBezTo>
                      <a:pt x="498" y="1796"/>
                      <a:pt x="450" y="1845"/>
                      <a:pt x="389" y="1845"/>
                    </a:cubicBezTo>
                    <a:lnTo>
                      <a:pt x="218" y="1845"/>
                    </a:lnTo>
                    <a:lnTo>
                      <a:pt x="218" y="2156"/>
                    </a:lnTo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93" name="Line 113">
                <a:extLst>
                  <a:ext uri="{FF2B5EF4-FFF2-40B4-BE49-F238E27FC236}">
                    <a16:creationId xmlns:a16="http://schemas.microsoft.com/office/drawing/2014/main" id="{27B58906-8ED4-CF48-9E06-C09292E71FD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048125" y="2058988"/>
                <a:ext cx="874713" cy="0"/>
              </a:xfrm>
              <a:prstGeom prst="line">
                <a:avLst/>
              </a:prstGeom>
              <a:grpFill/>
              <a:ln w="9525" cap="rnd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grpSp>
          <p:nvGrpSpPr>
            <p:cNvPr id="278" name="Group 71">
              <a:extLst>
                <a:ext uri="{FF2B5EF4-FFF2-40B4-BE49-F238E27FC236}">
                  <a16:creationId xmlns:a16="http://schemas.microsoft.com/office/drawing/2014/main" id="{4FB95E19-6216-4147-947A-FB1F14A457C9}"/>
                </a:ext>
              </a:extLst>
            </p:cNvPr>
            <p:cNvGrpSpPr/>
            <p:nvPr/>
          </p:nvGrpSpPr>
          <p:grpSpPr>
            <a:xfrm>
              <a:off x="5200252" y="-106363"/>
              <a:ext cx="661988" cy="712788"/>
              <a:chOff x="6769100" y="344488"/>
              <a:chExt cx="661988" cy="712788"/>
            </a:xfrm>
            <a:grpFill/>
          </p:grpSpPr>
          <p:sp>
            <p:nvSpPr>
              <p:cNvPr id="279" name="Freeform 56">
                <a:extLst>
                  <a:ext uri="{FF2B5EF4-FFF2-40B4-BE49-F238E27FC236}">
                    <a16:creationId xmlns:a16="http://schemas.microsoft.com/office/drawing/2014/main" id="{6771A0A5-09A7-DF4F-9F11-0DC476EE0F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7700" y="763588"/>
                <a:ext cx="227013" cy="293688"/>
              </a:xfrm>
              <a:custGeom>
                <a:avLst/>
                <a:gdLst>
                  <a:gd name="T0" fmla="*/ 192 w 751"/>
                  <a:gd name="T1" fmla="*/ 0 h 967"/>
                  <a:gd name="T2" fmla="*/ 192 w 751"/>
                  <a:gd name="T3" fmla="*/ 286 h 967"/>
                  <a:gd name="T4" fmla="*/ 249 w 751"/>
                  <a:gd name="T5" fmla="*/ 416 h 967"/>
                  <a:gd name="T6" fmla="*/ 432 w 751"/>
                  <a:gd name="T7" fmla="*/ 482 h 967"/>
                  <a:gd name="T8" fmla="*/ 418 w 751"/>
                  <a:gd name="T9" fmla="*/ 675 h 967"/>
                  <a:gd name="T10" fmla="*/ 249 w 751"/>
                  <a:gd name="T11" fmla="*/ 677 h 967"/>
                  <a:gd name="T12" fmla="*/ 204 w 751"/>
                  <a:gd name="T13" fmla="*/ 635 h 967"/>
                  <a:gd name="T14" fmla="*/ 96 w 751"/>
                  <a:gd name="T15" fmla="*/ 616 h 967"/>
                  <a:gd name="T16" fmla="*/ 47 w 751"/>
                  <a:gd name="T17" fmla="*/ 794 h 967"/>
                  <a:gd name="T18" fmla="*/ 424 w 751"/>
                  <a:gd name="T19" fmla="*/ 938 h 967"/>
                  <a:gd name="T20" fmla="*/ 738 w 751"/>
                  <a:gd name="T21" fmla="*/ 525 h 967"/>
                  <a:gd name="T22" fmla="*/ 520 w 751"/>
                  <a:gd name="T23" fmla="*/ 196 h 967"/>
                  <a:gd name="T24" fmla="*/ 490 w 751"/>
                  <a:gd name="T25" fmla="*/ 167 h 967"/>
                  <a:gd name="T26" fmla="*/ 490 w 751"/>
                  <a:gd name="T27" fmla="*/ 104 h 967"/>
                  <a:gd name="T28" fmla="*/ 490 w 751"/>
                  <a:gd name="T29" fmla="*/ 1 h 9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51" h="967">
                    <a:moveTo>
                      <a:pt x="192" y="0"/>
                    </a:moveTo>
                    <a:lnTo>
                      <a:pt x="192" y="286"/>
                    </a:lnTo>
                    <a:cubicBezTo>
                      <a:pt x="192" y="336"/>
                      <a:pt x="208" y="383"/>
                      <a:pt x="249" y="416"/>
                    </a:cubicBezTo>
                    <a:cubicBezTo>
                      <a:pt x="304" y="460"/>
                      <a:pt x="381" y="432"/>
                      <a:pt x="432" y="482"/>
                    </a:cubicBezTo>
                    <a:cubicBezTo>
                      <a:pt x="489" y="537"/>
                      <a:pt x="475" y="625"/>
                      <a:pt x="418" y="675"/>
                    </a:cubicBezTo>
                    <a:cubicBezTo>
                      <a:pt x="366" y="711"/>
                      <a:pt x="303" y="714"/>
                      <a:pt x="249" y="677"/>
                    </a:cubicBezTo>
                    <a:cubicBezTo>
                      <a:pt x="231" y="667"/>
                      <a:pt x="220" y="648"/>
                      <a:pt x="204" y="635"/>
                    </a:cubicBezTo>
                    <a:cubicBezTo>
                      <a:pt x="174" y="611"/>
                      <a:pt x="132" y="604"/>
                      <a:pt x="96" y="616"/>
                    </a:cubicBezTo>
                    <a:cubicBezTo>
                      <a:pt x="22" y="643"/>
                      <a:pt x="0" y="734"/>
                      <a:pt x="47" y="794"/>
                    </a:cubicBezTo>
                    <a:cubicBezTo>
                      <a:pt x="136" y="908"/>
                      <a:pt x="281" y="967"/>
                      <a:pt x="424" y="938"/>
                    </a:cubicBezTo>
                    <a:cubicBezTo>
                      <a:pt x="615" y="894"/>
                      <a:pt x="751" y="724"/>
                      <a:pt x="738" y="525"/>
                    </a:cubicBezTo>
                    <a:cubicBezTo>
                      <a:pt x="722" y="386"/>
                      <a:pt x="648" y="261"/>
                      <a:pt x="520" y="196"/>
                    </a:cubicBezTo>
                    <a:cubicBezTo>
                      <a:pt x="499" y="185"/>
                      <a:pt x="490" y="189"/>
                      <a:pt x="490" y="167"/>
                    </a:cubicBezTo>
                    <a:lnTo>
                      <a:pt x="490" y="104"/>
                    </a:lnTo>
                    <a:lnTo>
                      <a:pt x="490" y="1"/>
                    </a:lnTo>
                  </a:path>
                </a:pathLst>
              </a:custGeom>
              <a:grpFill/>
              <a:ln w="9525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grpSp>
            <p:nvGrpSpPr>
              <p:cNvPr id="280" name="Group 73">
                <a:extLst>
                  <a:ext uri="{FF2B5EF4-FFF2-40B4-BE49-F238E27FC236}">
                    <a16:creationId xmlns:a16="http://schemas.microsoft.com/office/drawing/2014/main" id="{AEF38355-0761-BF4B-98A4-3339E999B9C6}"/>
                  </a:ext>
                </a:extLst>
              </p:cNvPr>
              <p:cNvGrpSpPr/>
              <p:nvPr/>
            </p:nvGrpSpPr>
            <p:grpSpPr>
              <a:xfrm>
                <a:off x="6769100" y="344488"/>
                <a:ext cx="661988" cy="433388"/>
                <a:chOff x="6769100" y="344488"/>
                <a:chExt cx="661988" cy="433388"/>
              </a:xfrm>
              <a:grpFill/>
            </p:grpSpPr>
            <p:sp>
              <p:nvSpPr>
                <p:cNvPr id="281" name="Line 54">
                  <a:extLst>
                    <a:ext uri="{FF2B5EF4-FFF2-40B4-BE49-F238E27FC236}">
                      <a16:creationId xmlns:a16="http://schemas.microsoft.com/office/drawing/2014/main" id="{60E0184A-5B7F-FC47-B837-46D2A7F3642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6883400" y="344488"/>
                  <a:ext cx="0" cy="107950"/>
                </a:xfrm>
                <a:prstGeom prst="line">
                  <a:avLst/>
                </a:pr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282" name="Line 55">
                  <a:extLst>
                    <a:ext uri="{FF2B5EF4-FFF2-40B4-BE49-F238E27FC236}">
                      <a16:creationId xmlns:a16="http://schemas.microsoft.com/office/drawing/2014/main" id="{2A5C07F2-8367-2F4B-A0F9-F4DB918938A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7316788" y="344488"/>
                  <a:ext cx="0" cy="107950"/>
                </a:xfrm>
                <a:prstGeom prst="line">
                  <a:avLst/>
                </a:prstGeom>
                <a:grpFill/>
                <a:ln w="9525" cap="flat">
                  <a:solidFill>
                    <a:srgbClr val="FFFFF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283" name="Freeform 57">
                  <a:extLst>
                    <a:ext uri="{FF2B5EF4-FFF2-40B4-BE49-F238E27FC236}">
                      <a16:creationId xmlns:a16="http://schemas.microsoft.com/office/drawing/2014/main" id="{AC4FC831-D649-1A48-B7C6-400979043A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69100" y="452438"/>
                  <a:ext cx="661988" cy="325438"/>
                </a:xfrm>
                <a:custGeom>
                  <a:avLst/>
                  <a:gdLst>
                    <a:gd name="T0" fmla="*/ 2185 w 2185"/>
                    <a:gd name="T1" fmla="*/ 569 h 1070"/>
                    <a:gd name="T2" fmla="*/ 2105 w 2185"/>
                    <a:gd name="T3" fmla="*/ 687 h 1070"/>
                    <a:gd name="T4" fmla="*/ 1173 w 2185"/>
                    <a:gd name="T5" fmla="*/ 1052 h 1070"/>
                    <a:gd name="T6" fmla="*/ 1013 w 2185"/>
                    <a:gd name="T7" fmla="*/ 1052 h 1070"/>
                    <a:gd name="T8" fmla="*/ 81 w 2185"/>
                    <a:gd name="T9" fmla="*/ 687 h 1070"/>
                    <a:gd name="T10" fmla="*/ 0 w 2185"/>
                    <a:gd name="T11" fmla="*/ 569 h 1070"/>
                    <a:gd name="T12" fmla="*/ 0 w 2185"/>
                    <a:gd name="T13" fmla="*/ 87 h 1070"/>
                    <a:gd name="T14" fmla="*/ 87 w 2185"/>
                    <a:gd name="T15" fmla="*/ 0 h 1070"/>
                    <a:gd name="T16" fmla="*/ 2099 w 2185"/>
                    <a:gd name="T17" fmla="*/ 0 h 1070"/>
                    <a:gd name="T18" fmla="*/ 2185 w 2185"/>
                    <a:gd name="T19" fmla="*/ 87 h 1070"/>
                    <a:gd name="T20" fmla="*/ 2185 w 2185"/>
                    <a:gd name="T21" fmla="*/ 569 h 10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185" h="1070">
                      <a:moveTo>
                        <a:pt x="2185" y="569"/>
                      </a:moveTo>
                      <a:cubicBezTo>
                        <a:pt x="2185" y="617"/>
                        <a:pt x="2149" y="670"/>
                        <a:pt x="2105" y="687"/>
                      </a:cubicBezTo>
                      <a:lnTo>
                        <a:pt x="1173" y="1052"/>
                      </a:lnTo>
                      <a:cubicBezTo>
                        <a:pt x="1129" y="1070"/>
                        <a:pt x="1057" y="1070"/>
                        <a:pt x="1013" y="1052"/>
                      </a:cubicBezTo>
                      <a:lnTo>
                        <a:pt x="81" y="687"/>
                      </a:lnTo>
                      <a:cubicBezTo>
                        <a:pt x="37" y="670"/>
                        <a:pt x="0" y="617"/>
                        <a:pt x="0" y="569"/>
                      </a:cubicBezTo>
                      <a:lnTo>
                        <a:pt x="0" y="87"/>
                      </a:lnTo>
                      <a:cubicBezTo>
                        <a:pt x="0" y="39"/>
                        <a:pt x="39" y="0"/>
                        <a:pt x="87" y="0"/>
                      </a:cubicBezTo>
                      <a:lnTo>
                        <a:pt x="2099" y="0"/>
                      </a:lnTo>
                      <a:cubicBezTo>
                        <a:pt x="2147" y="0"/>
                        <a:pt x="2185" y="39"/>
                        <a:pt x="2185" y="87"/>
                      </a:cubicBezTo>
                      <a:lnTo>
                        <a:pt x="2185" y="569"/>
                      </a:lnTo>
                      <a:close/>
                    </a:path>
                  </a:pathLst>
                </a:custGeom>
                <a:grpFill/>
                <a:ln w="952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284" name="Line 58">
                  <a:extLst>
                    <a:ext uri="{FF2B5EF4-FFF2-40B4-BE49-F238E27FC236}">
                      <a16:creationId xmlns:a16="http://schemas.microsoft.com/office/drawing/2014/main" id="{0782724F-FE75-6745-8C0D-59529FD498E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6829425" y="511176"/>
                  <a:ext cx="36513" cy="52388"/>
                </a:xfrm>
                <a:prstGeom prst="line">
                  <a:avLst/>
                </a:prstGeom>
                <a:grpFill/>
                <a:ln w="952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285" name="Line 59">
                  <a:extLst>
                    <a:ext uri="{FF2B5EF4-FFF2-40B4-BE49-F238E27FC236}">
                      <a16:creationId xmlns:a16="http://schemas.microsoft.com/office/drawing/2014/main" id="{7DB0F6B6-151A-9F45-9263-A1E0A1644B1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7327900" y="563563"/>
                  <a:ext cx="42863" cy="63500"/>
                </a:xfrm>
                <a:prstGeom prst="line">
                  <a:avLst/>
                </a:prstGeom>
                <a:grpFill/>
                <a:ln w="952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286" name="Line 60">
                  <a:extLst>
                    <a:ext uri="{FF2B5EF4-FFF2-40B4-BE49-F238E27FC236}">
                      <a16:creationId xmlns:a16="http://schemas.microsoft.com/office/drawing/2014/main" id="{AC8BAD50-AAC4-5B44-97D2-C731F63E68E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6886575" y="511176"/>
                  <a:ext cx="87313" cy="127000"/>
                </a:xfrm>
                <a:prstGeom prst="line">
                  <a:avLst/>
                </a:prstGeom>
                <a:grpFill/>
                <a:ln w="952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287" name="Line 61">
                  <a:extLst>
                    <a:ext uri="{FF2B5EF4-FFF2-40B4-BE49-F238E27FC236}">
                      <a16:creationId xmlns:a16="http://schemas.microsoft.com/office/drawing/2014/main" id="{5D5E83F7-1D84-4844-B109-92A17F7D49A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6973888" y="511176"/>
                  <a:ext cx="107950" cy="158750"/>
                </a:xfrm>
                <a:prstGeom prst="line">
                  <a:avLst/>
                </a:prstGeom>
                <a:grpFill/>
                <a:ln w="952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288" name="Line 62">
                  <a:extLst>
                    <a:ext uri="{FF2B5EF4-FFF2-40B4-BE49-F238E27FC236}">
                      <a16:creationId xmlns:a16="http://schemas.microsoft.com/office/drawing/2014/main" id="{399974C8-E586-954A-AC48-2786BCA4F6C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7061200" y="511176"/>
                  <a:ext cx="128588" cy="188913"/>
                </a:xfrm>
                <a:prstGeom prst="line">
                  <a:avLst/>
                </a:prstGeom>
                <a:grpFill/>
                <a:ln w="952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289" name="Line 63">
                  <a:extLst>
                    <a:ext uri="{FF2B5EF4-FFF2-40B4-BE49-F238E27FC236}">
                      <a16:creationId xmlns:a16="http://schemas.microsoft.com/office/drawing/2014/main" id="{A6F46072-8B4C-7343-A888-C62FCA6D7D1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7177088" y="511176"/>
                  <a:ext cx="122238" cy="179388"/>
                </a:xfrm>
                <a:prstGeom prst="line">
                  <a:avLst/>
                </a:prstGeom>
                <a:grpFill/>
                <a:ln w="9525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0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</p:grpSp>
      </p:grpSp>
      <p:sp>
        <p:nvSpPr>
          <p:cNvPr id="294" name="TextBox 87">
            <a:extLst>
              <a:ext uri="{FF2B5EF4-FFF2-40B4-BE49-F238E27FC236}">
                <a16:creationId xmlns:a16="http://schemas.microsoft.com/office/drawing/2014/main" id="{0D06A1E4-69F9-944A-809E-547922BA1620}"/>
              </a:ext>
            </a:extLst>
          </p:cNvPr>
          <p:cNvSpPr txBox="1"/>
          <p:nvPr/>
        </p:nvSpPr>
        <p:spPr>
          <a:xfrm>
            <a:off x="7411914" y="4246941"/>
            <a:ext cx="1610134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5760" lvl="2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3pPr>
            <a:lvl4pPr marL="548640" lvl="3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4pPr>
            <a:lvl5pPr marL="731520" lvl="4" indent="-180054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en-US" sz="1200">
                <a:solidFill>
                  <a:srgbClr val="FFFFFF"/>
                </a:solidFill>
              </a:rPr>
              <a:t>Downstream </a:t>
            </a:r>
            <a:br>
              <a:rPr lang="en-US" sz="1200">
                <a:solidFill>
                  <a:srgbClr val="FFFFFF"/>
                </a:solidFill>
              </a:rPr>
            </a:br>
            <a:r>
              <a:rPr lang="en-US" sz="1200">
                <a:solidFill>
                  <a:srgbClr val="FFFFFF"/>
                </a:solidFill>
              </a:rPr>
              <a:t>Finishing</a:t>
            </a:r>
          </a:p>
        </p:txBody>
      </p:sp>
      <p:grpSp>
        <p:nvGrpSpPr>
          <p:cNvPr id="295" name="Group 95">
            <a:extLst>
              <a:ext uri="{FF2B5EF4-FFF2-40B4-BE49-F238E27FC236}">
                <a16:creationId xmlns:a16="http://schemas.microsoft.com/office/drawing/2014/main" id="{BF800D1B-92F9-4441-A280-103CE862A1D8}"/>
              </a:ext>
            </a:extLst>
          </p:cNvPr>
          <p:cNvGrpSpPr/>
          <p:nvPr/>
        </p:nvGrpSpPr>
        <p:grpSpPr>
          <a:xfrm>
            <a:off x="7945882" y="3522419"/>
            <a:ext cx="526070" cy="469428"/>
            <a:chOff x="1519238" y="1654176"/>
            <a:chExt cx="730250" cy="646113"/>
          </a:xfrm>
          <a:noFill/>
        </p:grpSpPr>
        <p:sp>
          <p:nvSpPr>
            <p:cNvPr id="296" name="Line 81">
              <a:extLst>
                <a:ext uri="{FF2B5EF4-FFF2-40B4-BE49-F238E27FC236}">
                  <a16:creationId xmlns:a16="http://schemas.microsoft.com/office/drawing/2014/main" id="{0D532F8B-0574-614E-82D6-A02B1F62193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778000" y="1733551"/>
              <a:ext cx="334963" cy="0"/>
            </a:xfrm>
            <a:prstGeom prst="line">
              <a:avLst/>
            </a:pr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97" name="Freeform 82">
              <a:extLst>
                <a:ext uri="{FF2B5EF4-FFF2-40B4-BE49-F238E27FC236}">
                  <a16:creationId xmlns:a16="http://schemas.microsoft.com/office/drawing/2014/main" id="{465A67C8-7440-704C-BB84-35C75D726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9238" y="1654176"/>
              <a:ext cx="271463" cy="511175"/>
            </a:xfrm>
            <a:custGeom>
              <a:avLst/>
              <a:gdLst>
                <a:gd name="T0" fmla="*/ 0 w 897"/>
                <a:gd name="T1" fmla="*/ 1688 h 1688"/>
                <a:gd name="T2" fmla="*/ 0 w 897"/>
                <a:gd name="T3" fmla="*/ 448 h 1688"/>
                <a:gd name="T4" fmla="*/ 448 w 897"/>
                <a:gd name="T5" fmla="*/ 0 h 1688"/>
                <a:gd name="T6" fmla="*/ 897 w 897"/>
                <a:gd name="T7" fmla="*/ 448 h 1688"/>
                <a:gd name="T8" fmla="*/ 897 w 897"/>
                <a:gd name="T9" fmla="*/ 1688 h 1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7" h="1688">
                  <a:moveTo>
                    <a:pt x="0" y="1688"/>
                  </a:moveTo>
                  <a:lnTo>
                    <a:pt x="0" y="448"/>
                  </a:lnTo>
                  <a:cubicBezTo>
                    <a:pt x="0" y="200"/>
                    <a:pt x="201" y="0"/>
                    <a:pt x="448" y="0"/>
                  </a:cubicBezTo>
                  <a:cubicBezTo>
                    <a:pt x="696" y="0"/>
                    <a:pt x="897" y="200"/>
                    <a:pt x="897" y="448"/>
                  </a:cubicBezTo>
                  <a:lnTo>
                    <a:pt x="897" y="1688"/>
                  </a:lnTo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98" name="Oval 83">
              <a:extLst>
                <a:ext uri="{FF2B5EF4-FFF2-40B4-BE49-F238E27FC236}">
                  <a16:creationId xmlns:a16="http://schemas.microsoft.com/office/drawing/2014/main" id="{6B6562A4-4C2E-C249-AEC4-6D21F1C4A4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9238" y="2028826"/>
              <a:ext cx="271463" cy="271463"/>
            </a:xfrm>
            <a:prstGeom prst="ellipse">
              <a:avLst/>
            </a:pr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299" name="Freeform 84">
              <a:extLst>
                <a:ext uri="{FF2B5EF4-FFF2-40B4-BE49-F238E27FC236}">
                  <a16:creationId xmlns:a16="http://schemas.microsoft.com/office/drawing/2014/main" id="{A189E8EC-BE17-644F-8D0B-85731E3DE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5" y="1654176"/>
              <a:ext cx="595313" cy="646113"/>
            </a:xfrm>
            <a:custGeom>
              <a:avLst/>
              <a:gdLst>
                <a:gd name="T0" fmla="*/ 0 w 1965"/>
                <a:gd name="T1" fmla="*/ 2136 h 2136"/>
                <a:gd name="T2" fmla="*/ 1517 w 1965"/>
                <a:gd name="T3" fmla="*/ 2136 h 2136"/>
                <a:gd name="T4" fmla="*/ 1965 w 1965"/>
                <a:gd name="T5" fmla="*/ 1688 h 2136"/>
                <a:gd name="T6" fmla="*/ 1517 w 1965"/>
                <a:gd name="T7" fmla="*/ 1240 h 2136"/>
                <a:gd name="T8" fmla="*/ 1517 w 1965"/>
                <a:gd name="T9" fmla="*/ 0 h 2136"/>
                <a:gd name="T10" fmla="*/ 1965 w 1965"/>
                <a:gd name="T11" fmla="*/ 448 h 2136"/>
                <a:gd name="T12" fmla="*/ 1965 w 1965"/>
                <a:gd name="T13" fmla="*/ 1688 h 2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5" h="2136">
                  <a:moveTo>
                    <a:pt x="0" y="2136"/>
                  </a:moveTo>
                  <a:lnTo>
                    <a:pt x="1517" y="2136"/>
                  </a:lnTo>
                  <a:cubicBezTo>
                    <a:pt x="1765" y="2136"/>
                    <a:pt x="1965" y="1936"/>
                    <a:pt x="1965" y="1688"/>
                  </a:cubicBezTo>
                  <a:cubicBezTo>
                    <a:pt x="1965" y="1440"/>
                    <a:pt x="1765" y="1240"/>
                    <a:pt x="1517" y="1240"/>
                  </a:cubicBezTo>
                  <a:lnTo>
                    <a:pt x="1517" y="0"/>
                  </a:lnTo>
                  <a:cubicBezTo>
                    <a:pt x="1765" y="0"/>
                    <a:pt x="1965" y="200"/>
                    <a:pt x="1965" y="448"/>
                  </a:cubicBezTo>
                  <a:lnTo>
                    <a:pt x="1965" y="1688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300" name="Oval 85">
              <a:extLst>
                <a:ext uri="{FF2B5EF4-FFF2-40B4-BE49-F238E27FC236}">
                  <a16:creationId xmlns:a16="http://schemas.microsoft.com/office/drawing/2014/main" id="{8FFA7E0B-C066-1E47-A01D-5EDEA19F6B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1788" y="2112963"/>
              <a:ext cx="104775" cy="104775"/>
            </a:xfrm>
            <a:prstGeom prst="ellipse">
              <a:avLst/>
            </a:pr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301" name="TextBox 102">
            <a:extLst>
              <a:ext uri="{FF2B5EF4-FFF2-40B4-BE49-F238E27FC236}">
                <a16:creationId xmlns:a16="http://schemas.microsoft.com/office/drawing/2014/main" id="{43C74A7E-0121-0142-852E-BC600B4D2444}"/>
              </a:ext>
            </a:extLst>
          </p:cNvPr>
          <p:cNvSpPr txBox="1"/>
          <p:nvPr/>
        </p:nvSpPr>
        <p:spPr>
          <a:xfrm>
            <a:off x="8924710" y="4246941"/>
            <a:ext cx="93760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5760" lvl="2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3pPr>
            <a:lvl4pPr marL="548640" lvl="3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4pPr>
            <a:lvl5pPr marL="731520" lvl="4" indent="-180054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en-US" sz="1200">
                <a:solidFill>
                  <a:srgbClr val="FFFFFF"/>
                </a:solidFill>
              </a:rPr>
              <a:t>Finishing</a:t>
            </a:r>
          </a:p>
        </p:txBody>
      </p:sp>
      <p:sp>
        <p:nvSpPr>
          <p:cNvPr id="302" name="TextBox 103">
            <a:extLst>
              <a:ext uri="{FF2B5EF4-FFF2-40B4-BE49-F238E27FC236}">
                <a16:creationId xmlns:a16="http://schemas.microsoft.com/office/drawing/2014/main" id="{442FBFEC-BA46-7049-8728-25D655E8964D}"/>
              </a:ext>
            </a:extLst>
          </p:cNvPr>
          <p:cNvSpPr txBox="1"/>
          <p:nvPr/>
        </p:nvSpPr>
        <p:spPr>
          <a:xfrm>
            <a:off x="669404" y="5294479"/>
            <a:ext cx="1606599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5760" lvl="2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3pPr>
            <a:lvl4pPr marL="548640" lvl="3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4pPr>
            <a:lvl5pPr marL="731520" lvl="4" indent="-180054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en-US" sz="1200">
                <a:solidFill>
                  <a:srgbClr val="FFFFFF"/>
                </a:solidFill>
              </a:rPr>
              <a:t>Renewable </a:t>
            </a:r>
            <a:br>
              <a:rPr lang="en-US" sz="1200">
                <a:solidFill>
                  <a:srgbClr val="FFFFFF"/>
                </a:solidFill>
              </a:rPr>
            </a:br>
            <a:r>
              <a:rPr lang="en-US" sz="1200">
                <a:solidFill>
                  <a:srgbClr val="FFFFFF"/>
                </a:solidFill>
              </a:rPr>
              <a:t>Electricity</a:t>
            </a:r>
          </a:p>
        </p:txBody>
      </p:sp>
      <p:cxnSp>
        <p:nvCxnSpPr>
          <p:cNvPr id="303" name="Straight Arrow Connector 107">
            <a:extLst>
              <a:ext uri="{FF2B5EF4-FFF2-40B4-BE49-F238E27FC236}">
                <a16:creationId xmlns:a16="http://schemas.microsoft.com/office/drawing/2014/main" id="{3CBA7D4A-8BA9-944B-967F-9049682C147C}"/>
              </a:ext>
            </a:extLst>
          </p:cNvPr>
          <p:cNvCxnSpPr>
            <a:cxnSpLocks/>
          </p:cNvCxnSpPr>
          <p:nvPr/>
        </p:nvCxnSpPr>
        <p:spPr>
          <a:xfrm>
            <a:off x="4142266" y="2478003"/>
            <a:ext cx="0" cy="607299"/>
          </a:xfrm>
          <a:prstGeom prst="straightConnector1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304" name="Straight Connector 108">
            <a:extLst>
              <a:ext uri="{FF2B5EF4-FFF2-40B4-BE49-F238E27FC236}">
                <a16:creationId xmlns:a16="http://schemas.microsoft.com/office/drawing/2014/main" id="{D5CC9785-5395-8843-99FD-2C1E7E553212}"/>
              </a:ext>
            </a:extLst>
          </p:cNvPr>
          <p:cNvCxnSpPr>
            <a:cxnSpLocks/>
          </p:cNvCxnSpPr>
          <p:nvPr/>
        </p:nvCxnSpPr>
        <p:spPr>
          <a:xfrm>
            <a:off x="2191726" y="2478003"/>
            <a:ext cx="1964278" cy="0"/>
          </a:xfrm>
          <a:prstGeom prst="line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305" name="Straight Connector 109">
            <a:extLst>
              <a:ext uri="{FF2B5EF4-FFF2-40B4-BE49-F238E27FC236}">
                <a16:creationId xmlns:a16="http://schemas.microsoft.com/office/drawing/2014/main" id="{8959FBA3-6D7E-344A-BC37-3FC665B3426F}"/>
              </a:ext>
            </a:extLst>
          </p:cNvPr>
          <p:cNvCxnSpPr>
            <a:cxnSpLocks/>
          </p:cNvCxnSpPr>
          <p:nvPr/>
        </p:nvCxnSpPr>
        <p:spPr>
          <a:xfrm>
            <a:off x="2191726" y="5483018"/>
            <a:ext cx="7245295" cy="0"/>
          </a:xfrm>
          <a:prstGeom prst="line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</a:ln>
          <a:effectLst/>
        </p:spPr>
      </p:cxnSp>
      <p:cxnSp>
        <p:nvCxnSpPr>
          <p:cNvPr id="308" name="Straight Arrow Connector 112">
            <a:extLst>
              <a:ext uri="{FF2B5EF4-FFF2-40B4-BE49-F238E27FC236}">
                <a16:creationId xmlns:a16="http://schemas.microsoft.com/office/drawing/2014/main" id="{9310359C-5E0E-A340-8549-B665341F10AC}"/>
              </a:ext>
            </a:extLst>
          </p:cNvPr>
          <p:cNvCxnSpPr>
            <a:cxnSpLocks/>
          </p:cNvCxnSpPr>
          <p:nvPr/>
        </p:nvCxnSpPr>
        <p:spPr>
          <a:xfrm>
            <a:off x="6084906" y="3762154"/>
            <a:ext cx="513559" cy="0"/>
          </a:xfrm>
          <a:prstGeom prst="straightConnector1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309" name="Straight Arrow Connector 115">
            <a:extLst>
              <a:ext uri="{FF2B5EF4-FFF2-40B4-BE49-F238E27FC236}">
                <a16:creationId xmlns:a16="http://schemas.microsoft.com/office/drawing/2014/main" id="{1885B0AE-40C1-FF44-B902-653055696397}"/>
              </a:ext>
            </a:extLst>
          </p:cNvPr>
          <p:cNvCxnSpPr>
            <a:cxnSpLocks/>
          </p:cNvCxnSpPr>
          <p:nvPr/>
        </p:nvCxnSpPr>
        <p:spPr>
          <a:xfrm>
            <a:off x="8554417" y="3762154"/>
            <a:ext cx="576710" cy="0"/>
          </a:xfrm>
          <a:prstGeom prst="straightConnector1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311" name="Straight Arrow Connector 120">
            <a:extLst>
              <a:ext uri="{FF2B5EF4-FFF2-40B4-BE49-F238E27FC236}">
                <a16:creationId xmlns:a16="http://schemas.microsoft.com/office/drawing/2014/main" id="{F491EBB2-9972-8945-8746-C68AB4B71891}"/>
              </a:ext>
            </a:extLst>
          </p:cNvPr>
          <p:cNvCxnSpPr>
            <a:cxnSpLocks/>
          </p:cNvCxnSpPr>
          <p:nvPr/>
        </p:nvCxnSpPr>
        <p:spPr>
          <a:xfrm flipV="1">
            <a:off x="2740888" y="5161722"/>
            <a:ext cx="0" cy="333137"/>
          </a:xfrm>
          <a:prstGeom prst="straightConnector1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312" name="Straight Arrow Connector 121">
            <a:extLst>
              <a:ext uri="{FF2B5EF4-FFF2-40B4-BE49-F238E27FC236}">
                <a16:creationId xmlns:a16="http://schemas.microsoft.com/office/drawing/2014/main" id="{BE10685E-2566-BE40-AFCE-71A77567DE1C}"/>
              </a:ext>
            </a:extLst>
          </p:cNvPr>
          <p:cNvCxnSpPr>
            <a:cxnSpLocks/>
          </p:cNvCxnSpPr>
          <p:nvPr/>
        </p:nvCxnSpPr>
        <p:spPr>
          <a:xfrm flipV="1">
            <a:off x="4142266" y="5161722"/>
            <a:ext cx="0" cy="333137"/>
          </a:xfrm>
          <a:prstGeom prst="straightConnector1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313" name="Straight Arrow Connector 122">
            <a:extLst>
              <a:ext uri="{FF2B5EF4-FFF2-40B4-BE49-F238E27FC236}">
                <a16:creationId xmlns:a16="http://schemas.microsoft.com/office/drawing/2014/main" id="{03894979-A4E8-734E-AF98-9FFB7F8E8C3D}"/>
              </a:ext>
            </a:extLst>
          </p:cNvPr>
          <p:cNvCxnSpPr>
            <a:cxnSpLocks/>
          </p:cNvCxnSpPr>
          <p:nvPr/>
        </p:nvCxnSpPr>
        <p:spPr>
          <a:xfrm flipV="1">
            <a:off x="5581569" y="5161722"/>
            <a:ext cx="0" cy="333137"/>
          </a:xfrm>
          <a:prstGeom prst="straightConnector1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314" name="Straight Arrow Connector 125">
            <a:extLst>
              <a:ext uri="{FF2B5EF4-FFF2-40B4-BE49-F238E27FC236}">
                <a16:creationId xmlns:a16="http://schemas.microsoft.com/office/drawing/2014/main" id="{404FAA76-8877-514D-A92D-9044E802269D}"/>
              </a:ext>
            </a:extLst>
          </p:cNvPr>
          <p:cNvCxnSpPr>
            <a:cxnSpLocks/>
          </p:cNvCxnSpPr>
          <p:nvPr/>
        </p:nvCxnSpPr>
        <p:spPr>
          <a:xfrm flipV="1">
            <a:off x="8222416" y="5161722"/>
            <a:ext cx="0" cy="333137"/>
          </a:xfrm>
          <a:prstGeom prst="straightConnector1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315" name="Straight Arrow Connector 126">
            <a:extLst>
              <a:ext uri="{FF2B5EF4-FFF2-40B4-BE49-F238E27FC236}">
                <a16:creationId xmlns:a16="http://schemas.microsoft.com/office/drawing/2014/main" id="{14B51B6E-06FA-3C41-A18B-FDC0993DB2C5}"/>
              </a:ext>
            </a:extLst>
          </p:cNvPr>
          <p:cNvCxnSpPr>
            <a:cxnSpLocks/>
          </p:cNvCxnSpPr>
          <p:nvPr/>
        </p:nvCxnSpPr>
        <p:spPr>
          <a:xfrm flipV="1">
            <a:off x="9432081" y="5161722"/>
            <a:ext cx="0" cy="333137"/>
          </a:xfrm>
          <a:prstGeom prst="straightConnector1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316" name="Straight Arrow Connector 130">
            <a:extLst>
              <a:ext uri="{FF2B5EF4-FFF2-40B4-BE49-F238E27FC236}">
                <a16:creationId xmlns:a16="http://schemas.microsoft.com/office/drawing/2014/main" id="{1BF2EFAC-45ED-3442-8D1B-CDC34D338148}"/>
              </a:ext>
            </a:extLst>
          </p:cNvPr>
          <p:cNvCxnSpPr>
            <a:cxnSpLocks/>
          </p:cNvCxnSpPr>
          <p:nvPr/>
        </p:nvCxnSpPr>
        <p:spPr>
          <a:xfrm flipV="1">
            <a:off x="9610520" y="3762154"/>
            <a:ext cx="551995" cy="1497"/>
          </a:xfrm>
          <a:prstGeom prst="straightConnector1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  <a:tailEnd type="arrow"/>
          </a:ln>
          <a:effectLst/>
        </p:spPr>
      </p:cxnSp>
      <p:sp>
        <p:nvSpPr>
          <p:cNvPr id="318" name="TextBox 134">
            <a:extLst>
              <a:ext uri="{FF2B5EF4-FFF2-40B4-BE49-F238E27FC236}">
                <a16:creationId xmlns:a16="http://schemas.microsoft.com/office/drawing/2014/main" id="{8B1FADCF-00B9-0748-BB4B-AE66263FEECB}"/>
              </a:ext>
            </a:extLst>
          </p:cNvPr>
          <p:cNvSpPr txBox="1"/>
          <p:nvPr/>
        </p:nvSpPr>
        <p:spPr>
          <a:xfrm>
            <a:off x="8300073" y="5862769"/>
            <a:ext cx="945772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5760" lvl="2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3pPr>
            <a:lvl4pPr marL="548640" lvl="3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4pPr>
            <a:lvl5pPr marL="731520" lvl="4" indent="-180054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en-US" sz="1200">
                <a:solidFill>
                  <a:srgbClr val="FFFFFF"/>
                </a:solidFill>
                <a:latin typeface="Arial"/>
              </a:rPr>
              <a:t>Circular scrap</a:t>
            </a:r>
          </a:p>
        </p:txBody>
      </p:sp>
      <p:sp>
        <p:nvSpPr>
          <p:cNvPr id="319" name="TextBox 136">
            <a:extLst>
              <a:ext uri="{FF2B5EF4-FFF2-40B4-BE49-F238E27FC236}">
                <a16:creationId xmlns:a16="http://schemas.microsoft.com/office/drawing/2014/main" id="{DF59357E-ED86-EA45-B671-33AADA8A7807}"/>
              </a:ext>
            </a:extLst>
          </p:cNvPr>
          <p:cNvSpPr txBox="1"/>
          <p:nvPr/>
        </p:nvSpPr>
        <p:spPr>
          <a:xfrm>
            <a:off x="5580505" y="2188213"/>
            <a:ext cx="3255828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5760" lvl="2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3pPr>
            <a:lvl4pPr marL="548640" lvl="3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4pPr>
            <a:lvl5pPr marL="731520" lvl="4" indent="-180054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en-US" sz="1200">
                <a:solidFill>
                  <a:srgbClr val="FFFFFF"/>
                </a:solidFill>
              </a:rPr>
              <a:t>Circular heat and district heating connection</a:t>
            </a:r>
          </a:p>
        </p:txBody>
      </p:sp>
      <p:cxnSp>
        <p:nvCxnSpPr>
          <p:cNvPr id="322" name="Straight Connector 149">
            <a:extLst>
              <a:ext uri="{FF2B5EF4-FFF2-40B4-BE49-F238E27FC236}">
                <a16:creationId xmlns:a16="http://schemas.microsoft.com/office/drawing/2014/main" id="{FC01208E-EB0E-1F45-A88A-20F5256604C7}"/>
              </a:ext>
            </a:extLst>
          </p:cNvPr>
          <p:cNvCxnSpPr>
            <a:cxnSpLocks/>
          </p:cNvCxnSpPr>
          <p:nvPr/>
        </p:nvCxnSpPr>
        <p:spPr>
          <a:xfrm flipH="1">
            <a:off x="5575548" y="2484346"/>
            <a:ext cx="1" cy="752632"/>
          </a:xfrm>
          <a:prstGeom prst="line">
            <a:avLst/>
          </a:prstGeom>
          <a:noFill/>
          <a:ln w="28575" cap="flat" cmpd="sng" algn="ctr">
            <a:solidFill>
              <a:srgbClr val="FFFFFF"/>
            </a:solidFill>
            <a:prstDash val="dash"/>
            <a:miter lim="800000"/>
          </a:ln>
          <a:effectLst/>
        </p:spPr>
      </p:cxnSp>
      <p:cxnSp>
        <p:nvCxnSpPr>
          <p:cNvPr id="323" name="Straight Connector 152">
            <a:extLst>
              <a:ext uri="{FF2B5EF4-FFF2-40B4-BE49-F238E27FC236}">
                <a16:creationId xmlns:a16="http://schemas.microsoft.com/office/drawing/2014/main" id="{2D6635FF-9898-5242-8F26-1D8121801385}"/>
              </a:ext>
            </a:extLst>
          </p:cNvPr>
          <p:cNvCxnSpPr>
            <a:cxnSpLocks/>
          </p:cNvCxnSpPr>
          <p:nvPr/>
        </p:nvCxnSpPr>
        <p:spPr>
          <a:xfrm>
            <a:off x="5562572" y="6133380"/>
            <a:ext cx="5419372" cy="0"/>
          </a:xfrm>
          <a:prstGeom prst="line">
            <a:avLst/>
          </a:prstGeom>
          <a:noFill/>
          <a:ln w="28575" cap="flat" cmpd="sng" algn="ctr">
            <a:solidFill>
              <a:srgbClr val="FFFFFF"/>
            </a:solidFill>
            <a:prstDash val="dash"/>
            <a:miter lim="800000"/>
          </a:ln>
          <a:effectLst/>
        </p:spPr>
      </p:cxnSp>
      <p:cxnSp>
        <p:nvCxnSpPr>
          <p:cNvPr id="324" name="Straight Connector 153">
            <a:extLst>
              <a:ext uri="{FF2B5EF4-FFF2-40B4-BE49-F238E27FC236}">
                <a16:creationId xmlns:a16="http://schemas.microsoft.com/office/drawing/2014/main" id="{F56E3674-FE6E-9045-8EE8-583B53C51851}"/>
              </a:ext>
            </a:extLst>
          </p:cNvPr>
          <p:cNvCxnSpPr>
            <a:cxnSpLocks/>
          </p:cNvCxnSpPr>
          <p:nvPr/>
        </p:nvCxnSpPr>
        <p:spPr>
          <a:xfrm flipH="1">
            <a:off x="5562572" y="5497202"/>
            <a:ext cx="12959" cy="588621"/>
          </a:xfrm>
          <a:prstGeom prst="line">
            <a:avLst/>
          </a:prstGeom>
          <a:noFill/>
          <a:ln w="28575" cap="flat" cmpd="sng" algn="ctr">
            <a:solidFill>
              <a:srgbClr val="FFFFFF"/>
            </a:solidFill>
            <a:prstDash val="dash"/>
            <a:miter lim="800000"/>
          </a:ln>
          <a:effectLst/>
        </p:spPr>
      </p:cxnSp>
      <p:cxnSp>
        <p:nvCxnSpPr>
          <p:cNvPr id="325" name="Straight Connector 155">
            <a:extLst>
              <a:ext uri="{FF2B5EF4-FFF2-40B4-BE49-F238E27FC236}">
                <a16:creationId xmlns:a16="http://schemas.microsoft.com/office/drawing/2014/main" id="{018664D8-2487-D24B-AB23-4B3E8DD09484}"/>
              </a:ext>
            </a:extLst>
          </p:cNvPr>
          <p:cNvCxnSpPr>
            <a:cxnSpLocks/>
          </p:cNvCxnSpPr>
          <p:nvPr/>
        </p:nvCxnSpPr>
        <p:spPr>
          <a:xfrm flipV="1">
            <a:off x="10983224" y="4251508"/>
            <a:ext cx="0" cy="1852993"/>
          </a:xfrm>
          <a:prstGeom prst="line">
            <a:avLst/>
          </a:prstGeom>
          <a:noFill/>
          <a:ln w="28575" cap="flat" cmpd="sng" algn="ctr">
            <a:solidFill>
              <a:srgbClr val="FFFFFF"/>
            </a:solidFill>
            <a:prstDash val="dash"/>
            <a:miter lim="800000"/>
          </a:ln>
          <a:effectLst/>
        </p:spPr>
      </p:cxnSp>
      <p:sp>
        <p:nvSpPr>
          <p:cNvPr id="326" name="TextBox 101">
            <a:extLst>
              <a:ext uri="{FF2B5EF4-FFF2-40B4-BE49-F238E27FC236}">
                <a16:creationId xmlns:a16="http://schemas.microsoft.com/office/drawing/2014/main" id="{1F8968AE-1DD1-2348-B244-0FB437291A51}"/>
              </a:ext>
            </a:extLst>
          </p:cNvPr>
          <p:cNvSpPr txBox="1"/>
          <p:nvPr/>
        </p:nvSpPr>
        <p:spPr>
          <a:xfrm>
            <a:off x="10315687" y="3654336"/>
            <a:ext cx="137556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5760" lvl="2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3pPr>
            <a:lvl4pPr marL="548640" lvl="3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4pPr>
            <a:lvl5pPr marL="731520" lvl="4" indent="-180054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en-US" sz="1400" b="1">
                <a:solidFill>
                  <a:srgbClr val="FFFFFF"/>
                </a:solidFill>
              </a:rPr>
              <a:t>Customers</a:t>
            </a:r>
          </a:p>
        </p:txBody>
      </p:sp>
      <p:cxnSp>
        <p:nvCxnSpPr>
          <p:cNvPr id="327" name="Straight Connector 20">
            <a:extLst>
              <a:ext uri="{FF2B5EF4-FFF2-40B4-BE49-F238E27FC236}">
                <a16:creationId xmlns:a16="http://schemas.microsoft.com/office/drawing/2014/main" id="{072A0E3B-B62B-764F-ACC7-ED9F3EBE376A}"/>
              </a:ext>
            </a:extLst>
          </p:cNvPr>
          <p:cNvCxnSpPr>
            <a:cxnSpLocks/>
          </p:cNvCxnSpPr>
          <p:nvPr/>
        </p:nvCxnSpPr>
        <p:spPr>
          <a:xfrm>
            <a:off x="839788" y="6539949"/>
            <a:ext cx="9429627" cy="0"/>
          </a:xfrm>
          <a:prstGeom prst="line">
            <a:avLst/>
          </a:prstGeom>
          <a:ln w="3175"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8" name="Graphic 35">
            <a:extLst>
              <a:ext uri="{FF2B5EF4-FFF2-40B4-BE49-F238E27FC236}">
                <a16:creationId xmlns:a16="http://schemas.microsoft.com/office/drawing/2014/main" id="{C58AAFB1-886A-6E48-AD0D-52911299991F}"/>
              </a:ext>
            </a:extLst>
          </p:cNvPr>
          <p:cNvGrpSpPr/>
          <p:nvPr/>
        </p:nvGrpSpPr>
        <p:grpSpPr>
          <a:xfrm>
            <a:off x="10500492" y="6444184"/>
            <a:ext cx="1356545" cy="209293"/>
            <a:chOff x="3066288" y="2960996"/>
            <a:chExt cx="6066790" cy="936007"/>
          </a:xfrm>
          <a:solidFill>
            <a:schemeClr val="bg1"/>
          </a:solidFill>
        </p:grpSpPr>
        <p:grpSp>
          <p:nvGrpSpPr>
            <p:cNvPr id="329" name="Graphic 35">
              <a:extLst>
                <a:ext uri="{FF2B5EF4-FFF2-40B4-BE49-F238E27FC236}">
                  <a16:creationId xmlns:a16="http://schemas.microsoft.com/office/drawing/2014/main" id="{5D00AB15-A2A8-A141-AA50-9D22B52A1F32}"/>
                </a:ext>
              </a:extLst>
            </p:cNvPr>
            <p:cNvGrpSpPr/>
            <p:nvPr/>
          </p:nvGrpSpPr>
          <p:grpSpPr>
            <a:xfrm>
              <a:off x="3989014" y="2960996"/>
              <a:ext cx="5144064" cy="936007"/>
              <a:chOff x="3989014" y="2960996"/>
              <a:chExt cx="5144064" cy="936007"/>
            </a:xfrm>
            <a:grpFill/>
          </p:grpSpPr>
          <p:sp>
            <p:nvSpPr>
              <p:cNvPr id="333" name="Freeform 41">
                <a:extLst>
                  <a:ext uri="{FF2B5EF4-FFF2-40B4-BE49-F238E27FC236}">
                    <a16:creationId xmlns:a16="http://schemas.microsoft.com/office/drawing/2014/main" id="{1E1DD75B-EF58-FA4E-9BA3-352D31936439}"/>
                  </a:ext>
                </a:extLst>
              </p:cNvPr>
              <p:cNvSpPr/>
              <p:nvPr/>
            </p:nvSpPr>
            <p:spPr>
              <a:xfrm>
                <a:off x="3989014" y="3107820"/>
                <a:ext cx="578315" cy="789183"/>
              </a:xfrm>
              <a:custGeom>
                <a:avLst/>
                <a:gdLst>
                  <a:gd name="connsiteX0" fmla="*/ 442025 w 578315"/>
                  <a:gd name="connsiteY0" fmla="*/ 84424 h 789183"/>
                  <a:gd name="connsiteX1" fmla="*/ 442025 w 578315"/>
                  <a:gd name="connsiteY1" fmla="*/ 18353 h 789183"/>
                  <a:gd name="connsiteX2" fmla="*/ 578316 w 578315"/>
                  <a:gd name="connsiteY2" fmla="*/ 18353 h 789183"/>
                  <a:gd name="connsiteX3" fmla="*/ 578316 w 578315"/>
                  <a:gd name="connsiteY3" fmla="*/ 532240 h 789183"/>
                  <a:gd name="connsiteX4" fmla="*/ 495436 w 578315"/>
                  <a:gd name="connsiteY4" fmla="*/ 723112 h 789183"/>
                  <a:gd name="connsiteX5" fmla="*/ 296525 w 578315"/>
                  <a:gd name="connsiteY5" fmla="*/ 789183 h 789183"/>
                  <a:gd name="connsiteX6" fmla="*/ 38677 w 578315"/>
                  <a:gd name="connsiteY6" fmla="*/ 657041 h 789183"/>
                  <a:gd name="connsiteX7" fmla="*/ 158392 w 578315"/>
                  <a:gd name="connsiteY7" fmla="*/ 589134 h 789183"/>
                  <a:gd name="connsiteX8" fmla="*/ 300209 w 578315"/>
                  <a:gd name="connsiteY8" fmla="*/ 664382 h 789183"/>
                  <a:gd name="connsiteX9" fmla="*/ 405189 w 578315"/>
                  <a:gd name="connsiteY9" fmla="*/ 629511 h 789183"/>
                  <a:gd name="connsiteX10" fmla="*/ 443867 w 578315"/>
                  <a:gd name="connsiteY10" fmla="*/ 530405 h 789183"/>
                  <a:gd name="connsiteX11" fmla="*/ 443867 w 578315"/>
                  <a:gd name="connsiteY11" fmla="*/ 471675 h 789183"/>
                  <a:gd name="connsiteX12" fmla="*/ 270740 w 578315"/>
                  <a:gd name="connsiteY12" fmla="*/ 554264 h 789183"/>
                  <a:gd name="connsiteX13" fmla="*/ 77354 w 578315"/>
                  <a:gd name="connsiteY13" fmla="*/ 473510 h 789183"/>
                  <a:gd name="connsiteX14" fmla="*/ 0 w 578315"/>
                  <a:gd name="connsiteY14" fmla="*/ 277132 h 789183"/>
                  <a:gd name="connsiteX15" fmla="*/ 77354 w 578315"/>
                  <a:gd name="connsiteY15" fmla="*/ 80754 h 789183"/>
                  <a:gd name="connsiteX16" fmla="*/ 268898 w 578315"/>
                  <a:gd name="connsiteY16" fmla="*/ 0 h 789183"/>
                  <a:gd name="connsiteX17" fmla="*/ 442025 w 578315"/>
                  <a:gd name="connsiteY17" fmla="*/ 84424 h 789183"/>
                  <a:gd name="connsiteX18" fmla="*/ 399664 w 578315"/>
                  <a:gd name="connsiteY18" fmla="*/ 385415 h 789183"/>
                  <a:gd name="connsiteX19" fmla="*/ 442025 w 578315"/>
                  <a:gd name="connsiteY19" fmla="*/ 278967 h 789183"/>
                  <a:gd name="connsiteX20" fmla="*/ 397822 w 578315"/>
                  <a:gd name="connsiteY20" fmla="*/ 174354 h 789183"/>
                  <a:gd name="connsiteX21" fmla="*/ 289158 w 578315"/>
                  <a:gd name="connsiteY21" fmla="*/ 132142 h 789183"/>
                  <a:gd name="connsiteX22" fmla="*/ 180494 w 578315"/>
                  <a:gd name="connsiteY22" fmla="*/ 174354 h 789183"/>
                  <a:gd name="connsiteX23" fmla="*/ 138133 w 578315"/>
                  <a:gd name="connsiteY23" fmla="*/ 278967 h 789183"/>
                  <a:gd name="connsiteX24" fmla="*/ 180494 w 578315"/>
                  <a:gd name="connsiteY24" fmla="*/ 385415 h 789183"/>
                  <a:gd name="connsiteX25" fmla="*/ 289158 w 578315"/>
                  <a:gd name="connsiteY25" fmla="*/ 427627 h 789183"/>
                  <a:gd name="connsiteX26" fmla="*/ 399664 w 578315"/>
                  <a:gd name="connsiteY26" fmla="*/ 385415 h 789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78315" h="789183">
                    <a:moveTo>
                      <a:pt x="442025" y="84424"/>
                    </a:moveTo>
                    <a:lnTo>
                      <a:pt x="442025" y="18353"/>
                    </a:lnTo>
                    <a:lnTo>
                      <a:pt x="578316" y="18353"/>
                    </a:lnTo>
                    <a:lnTo>
                      <a:pt x="578316" y="532240"/>
                    </a:lnTo>
                    <a:cubicBezTo>
                      <a:pt x="578316" y="614829"/>
                      <a:pt x="550689" y="679065"/>
                      <a:pt x="495436" y="723112"/>
                    </a:cubicBezTo>
                    <a:cubicBezTo>
                      <a:pt x="440183" y="767160"/>
                      <a:pt x="373879" y="789183"/>
                      <a:pt x="296525" y="789183"/>
                    </a:cubicBezTo>
                    <a:cubicBezTo>
                      <a:pt x="173126" y="789183"/>
                      <a:pt x="88405" y="745136"/>
                      <a:pt x="38677" y="657041"/>
                    </a:cubicBezTo>
                    <a:lnTo>
                      <a:pt x="158392" y="589134"/>
                    </a:lnTo>
                    <a:cubicBezTo>
                      <a:pt x="186019" y="638688"/>
                      <a:pt x="232063" y="664382"/>
                      <a:pt x="300209" y="664382"/>
                    </a:cubicBezTo>
                    <a:cubicBezTo>
                      <a:pt x="344411" y="664382"/>
                      <a:pt x="379405" y="653370"/>
                      <a:pt x="405189" y="629511"/>
                    </a:cubicBezTo>
                    <a:cubicBezTo>
                      <a:pt x="430974" y="605652"/>
                      <a:pt x="443867" y="574452"/>
                      <a:pt x="443867" y="530405"/>
                    </a:cubicBezTo>
                    <a:lnTo>
                      <a:pt x="443867" y="471675"/>
                    </a:lnTo>
                    <a:cubicBezTo>
                      <a:pt x="403348" y="526734"/>
                      <a:pt x="344411" y="554264"/>
                      <a:pt x="270740" y="554264"/>
                    </a:cubicBezTo>
                    <a:cubicBezTo>
                      <a:pt x="193386" y="554264"/>
                      <a:pt x="128924" y="526734"/>
                      <a:pt x="77354" y="473510"/>
                    </a:cubicBezTo>
                    <a:cubicBezTo>
                      <a:pt x="25785" y="418451"/>
                      <a:pt x="0" y="352380"/>
                      <a:pt x="0" y="277132"/>
                    </a:cubicBezTo>
                    <a:cubicBezTo>
                      <a:pt x="0" y="200049"/>
                      <a:pt x="25785" y="135813"/>
                      <a:pt x="77354" y="80754"/>
                    </a:cubicBezTo>
                    <a:cubicBezTo>
                      <a:pt x="128924" y="25694"/>
                      <a:pt x="193386" y="0"/>
                      <a:pt x="268898" y="0"/>
                    </a:cubicBezTo>
                    <a:cubicBezTo>
                      <a:pt x="342569" y="1835"/>
                      <a:pt x="401506" y="29365"/>
                      <a:pt x="442025" y="84424"/>
                    </a:cubicBezTo>
                    <a:close/>
                    <a:moveTo>
                      <a:pt x="399664" y="385415"/>
                    </a:moveTo>
                    <a:cubicBezTo>
                      <a:pt x="429133" y="357885"/>
                      <a:pt x="442025" y="323015"/>
                      <a:pt x="442025" y="278967"/>
                    </a:cubicBezTo>
                    <a:cubicBezTo>
                      <a:pt x="442025" y="234920"/>
                      <a:pt x="427291" y="200049"/>
                      <a:pt x="397822" y="174354"/>
                    </a:cubicBezTo>
                    <a:cubicBezTo>
                      <a:pt x="370196" y="146825"/>
                      <a:pt x="333360" y="132142"/>
                      <a:pt x="289158" y="132142"/>
                    </a:cubicBezTo>
                    <a:cubicBezTo>
                      <a:pt x="244956" y="132142"/>
                      <a:pt x="209962" y="146825"/>
                      <a:pt x="180494" y="174354"/>
                    </a:cubicBezTo>
                    <a:cubicBezTo>
                      <a:pt x="152867" y="201884"/>
                      <a:pt x="138133" y="236755"/>
                      <a:pt x="138133" y="278967"/>
                    </a:cubicBezTo>
                    <a:cubicBezTo>
                      <a:pt x="138133" y="321179"/>
                      <a:pt x="152867" y="357885"/>
                      <a:pt x="180494" y="385415"/>
                    </a:cubicBezTo>
                    <a:cubicBezTo>
                      <a:pt x="209962" y="412945"/>
                      <a:pt x="244956" y="427627"/>
                      <a:pt x="289158" y="427627"/>
                    </a:cubicBezTo>
                    <a:cubicBezTo>
                      <a:pt x="335202" y="427627"/>
                      <a:pt x="370196" y="412945"/>
                      <a:pt x="399664" y="385415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34" name="Freeform 42">
                <a:extLst>
                  <a:ext uri="{FF2B5EF4-FFF2-40B4-BE49-F238E27FC236}">
                    <a16:creationId xmlns:a16="http://schemas.microsoft.com/office/drawing/2014/main" id="{4250421D-C88F-C24C-96BA-ABE5D18C1A40}"/>
                  </a:ext>
                </a:extLst>
              </p:cNvPr>
              <p:cNvSpPr/>
              <p:nvPr/>
            </p:nvSpPr>
            <p:spPr>
              <a:xfrm>
                <a:off x="4663102" y="3115162"/>
                <a:ext cx="303892" cy="552428"/>
              </a:xfrm>
              <a:custGeom>
                <a:avLst/>
                <a:gdLst>
                  <a:gd name="connsiteX0" fmla="*/ 139975 w 303892"/>
                  <a:gd name="connsiteY0" fmla="*/ 11012 h 552428"/>
                  <a:gd name="connsiteX1" fmla="*/ 139975 w 303892"/>
                  <a:gd name="connsiteY1" fmla="*/ 102777 h 552428"/>
                  <a:gd name="connsiteX2" fmla="*/ 202595 w 303892"/>
                  <a:gd name="connsiteY2" fmla="*/ 25694 h 552428"/>
                  <a:gd name="connsiteX3" fmla="*/ 303892 w 303892"/>
                  <a:gd name="connsiteY3" fmla="*/ 0 h 552428"/>
                  <a:gd name="connsiteX4" fmla="*/ 303892 w 303892"/>
                  <a:gd name="connsiteY4" fmla="*/ 156001 h 552428"/>
                  <a:gd name="connsiteX5" fmla="*/ 189702 w 303892"/>
                  <a:gd name="connsiteY5" fmla="*/ 181696 h 552428"/>
                  <a:gd name="connsiteX6" fmla="*/ 139975 w 303892"/>
                  <a:gd name="connsiteY6" fmla="*/ 293650 h 552428"/>
                  <a:gd name="connsiteX7" fmla="*/ 139975 w 303892"/>
                  <a:gd name="connsiteY7" fmla="*/ 552428 h 552428"/>
                  <a:gd name="connsiteX8" fmla="*/ 0 w 303892"/>
                  <a:gd name="connsiteY8" fmla="*/ 552428 h 552428"/>
                  <a:gd name="connsiteX9" fmla="*/ 0 w 303892"/>
                  <a:gd name="connsiteY9" fmla="*/ 11012 h 552428"/>
                  <a:gd name="connsiteX10" fmla="*/ 139975 w 303892"/>
                  <a:gd name="connsiteY10" fmla="*/ 11012 h 552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03892" h="552428">
                    <a:moveTo>
                      <a:pt x="139975" y="11012"/>
                    </a:moveTo>
                    <a:lnTo>
                      <a:pt x="139975" y="102777"/>
                    </a:lnTo>
                    <a:cubicBezTo>
                      <a:pt x="152867" y="69742"/>
                      <a:pt x="173126" y="44047"/>
                      <a:pt x="202595" y="25694"/>
                    </a:cubicBezTo>
                    <a:cubicBezTo>
                      <a:pt x="232063" y="7341"/>
                      <a:pt x="267057" y="0"/>
                      <a:pt x="303892" y="0"/>
                    </a:cubicBezTo>
                    <a:lnTo>
                      <a:pt x="303892" y="156001"/>
                    </a:lnTo>
                    <a:cubicBezTo>
                      <a:pt x="261531" y="150495"/>
                      <a:pt x="222854" y="159672"/>
                      <a:pt x="189702" y="181696"/>
                    </a:cubicBezTo>
                    <a:cubicBezTo>
                      <a:pt x="156550" y="203719"/>
                      <a:pt x="139975" y="240426"/>
                      <a:pt x="139975" y="293650"/>
                    </a:cubicBezTo>
                    <a:lnTo>
                      <a:pt x="139975" y="552428"/>
                    </a:lnTo>
                    <a:lnTo>
                      <a:pt x="0" y="552428"/>
                    </a:lnTo>
                    <a:lnTo>
                      <a:pt x="0" y="11012"/>
                    </a:lnTo>
                    <a:lnTo>
                      <a:pt x="139975" y="11012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35" name="Freeform 43">
                <a:extLst>
                  <a:ext uri="{FF2B5EF4-FFF2-40B4-BE49-F238E27FC236}">
                    <a16:creationId xmlns:a16="http://schemas.microsoft.com/office/drawing/2014/main" id="{52B73B9E-192E-E349-97E8-01F3FC320DEA}"/>
                  </a:ext>
                </a:extLst>
              </p:cNvPr>
              <p:cNvSpPr/>
              <p:nvPr/>
            </p:nvSpPr>
            <p:spPr>
              <a:xfrm>
                <a:off x="5000146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8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7" y="200049"/>
                      <a:pt x="395981" y="172519"/>
                      <a:pt x="372038" y="154166"/>
                    </a:cubicBezTo>
                    <a:cubicBezTo>
                      <a:pt x="348095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36" name="Freeform 44">
                <a:extLst>
                  <a:ext uri="{FF2B5EF4-FFF2-40B4-BE49-F238E27FC236}">
                    <a16:creationId xmlns:a16="http://schemas.microsoft.com/office/drawing/2014/main" id="{1784A08F-A8AA-4A4D-9735-B4D586156E66}"/>
                  </a:ext>
                </a:extLst>
              </p:cNvPr>
              <p:cNvSpPr/>
              <p:nvPr/>
            </p:nvSpPr>
            <p:spPr>
              <a:xfrm>
                <a:off x="559872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1816 w 561739"/>
                  <a:gd name="connsiteY13" fmla="*/ 234920 h 570781"/>
                  <a:gd name="connsiteX14" fmla="*/ 418082 w 561739"/>
                  <a:gd name="connsiteY14" fmla="*/ 234920 h 570781"/>
                  <a:gd name="connsiteX15" fmla="*/ 370196 w 561739"/>
                  <a:gd name="connsiteY15" fmla="*/ 154166 h 570781"/>
                  <a:gd name="connsiteX16" fmla="*/ 283633 w 561739"/>
                  <a:gd name="connsiteY16" fmla="*/ 126636 h 570781"/>
                  <a:gd name="connsiteX17" fmla="*/ 189702 w 561739"/>
                  <a:gd name="connsiteY17" fmla="*/ 156001 h 570781"/>
                  <a:gd name="connsiteX18" fmla="*/ 141816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8056" y="300991"/>
                      <a:pt x="556215" y="321179"/>
                      <a:pt x="554373" y="343203"/>
                    </a:cubicBezTo>
                    <a:close/>
                    <a:moveTo>
                      <a:pt x="141816" y="234920"/>
                    </a:moveTo>
                    <a:lnTo>
                      <a:pt x="418082" y="234920"/>
                    </a:lnTo>
                    <a:cubicBezTo>
                      <a:pt x="410715" y="200049"/>
                      <a:pt x="394139" y="172519"/>
                      <a:pt x="370196" y="154166"/>
                    </a:cubicBezTo>
                    <a:cubicBezTo>
                      <a:pt x="346253" y="135813"/>
                      <a:pt x="316784" y="126636"/>
                      <a:pt x="283633" y="126636"/>
                    </a:cubicBezTo>
                    <a:cubicBezTo>
                      <a:pt x="246797" y="126636"/>
                      <a:pt x="215487" y="135813"/>
                      <a:pt x="189702" y="156001"/>
                    </a:cubicBezTo>
                    <a:cubicBezTo>
                      <a:pt x="167601" y="174354"/>
                      <a:pt x="151025" y="200049"/>
                      <a:pt x="141816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37" name="Freeform 45">
                <a:extLst>
                  <a:ext uri="{FF2B5EF4-FFF2-40B4-BE49-F238E27FC236}">
                    <a16:creationId xmlns:a16="http://schemas.microsoft.com/office/drawing/2014/main" id="{7EE76135-5FDD-E249-9697-65857DB35AD1}"/>
                  </a:ext>
                </a:extLst>
              </p:cNvPr>
              <p:cNvSpPr/>
              <p:nvPr/>
            </p:nvSpPr>
            <p:spPr>
              <a:xfrm>
                <a:off x="6224923" y="3109656"/>
                <a:ext cx="506486" cy="556098"/>
              </a:xfrm>
              <a:custGeom>
                <a:avLst/>
                <a:gdLst>
                  <a:gd name="connsiteX0" fmla="*/ 302050 w 506486"/>
                  <a:gd name="connsiteY0" fmla="*/ 0 h 556098"/>
                  <a:gd name="connsiteX1" fmla="*/ 447550 w 506486"/>
                  <a:gd name="connsiteY1" fmla="*/ 58730 h 556098"/>
                  <a:gd name="connsiteX2" fmla="*/ 506487 w 506486"/>
                  <a:gd name="connsiteY2" fmla="*/ 222073 h 556098"/>
                  <a:gd name="connsiteX3" fmla="*/ 506487 w 506486"/>
                  <a:gd name="connsiteY3" fmla="*/ 554264 h 556098"/>
                  <a:gd name="connsiteX4" fmla="*/ 366512 w 506486"/>
                  <a:gd name="connsiteY4" fmla="*/ 554264 h 556098"/>
                  <a:gd name="connsiteX5" fmla="*/ 366512 w 506486"/>
                  <a:gd name="connsiteY5" fmla="*/ 242261 h 556098"/>
                  <a:gd name="connsiteX6" fmla="*/ 337044 w 506486"/>
                  <a:gd name="connsiteY6" fmla="*/ 159672 h 556098"/>
                  <a:gd name="connsiteX7" fmla="*/ 257848 w 506486"/>
                  <a:gd name="connsiteY7" fmla="*/ 130307 h 556098"/>
                  <a:gd name="connsiteX8" fmla="*/ 171285 w 506486"/>
                  <a:gd name="connsiteY8" fmla="*/ 165178 h 556098"/>
                  <a:gd name="connsiteX9" fmla="*/ 139975 w 506486"/>
                  <a:gd name="connsiteY9" fmla="*/ 264285 h 556098"/>
                  <a:gd name="connsiteX10" fmla="*/ 139975 w 506486"/>
                  <a:gd name="connsiteY10" fmla="*/ 556099 h 556098"/>
                  <a:gd name="connsiteX11" fmla="*/ 0 w 506486"/>
                  <a:gd name="connsiteY11" fmla="*/ 556099 h 556098"/>
                  <a:gd name="connsiteX12" fmla="*/ 0 w 506486"/>
                  <a:gd name="connsiteY12" fmla="*/ 16518 h 556098"/>
                  <a:gd name="connsiteX13" fmla="*/ 139975 w 506486"/>
                  <a:gd name="connsiteY13" fmla="*/ 16518 h 556098"/>
                  <a:gd name="connsiteX14" fmla="*/ 139975 w 506486"/>
                  <a:gd name="connsiteY14" fmla="*/ 77083 h 556098"/>
                  <a:gd name="connsiteX15" fmla="*/ 302050 w 506486"/>
                  <a:gd name="connsiteY15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506486" h="556098">
                    <a:moveTo>
                      <a:pt x="302050" y="0"/>
                    </a:moveTo>
                    <a:cubicBezTo>
                      <a:pt x="362829" y="0"/>
                      <a:pt x="410715" y="20188"/>
                      <a:pt x="447550" y="58730"/>
                    </a:cubicBezTo>
                    <a:cubicBezTo>
                      <a:pt x="486227" y="99107"/>
                      <a:pt x="506487" y="154166"/>
                      <a:pt x="506487" y="222073"/>
                    </a:cubicBezTo>
                    <a:lnTo>
                      <a:pt x="506487" y="554264"/>
                    </a:lnTo>
                    <a:lnTo>
                      <a:pt x="366512" y="554264"/>
                    </a:lnTo>
                    <a:lnTo>
                      <a:pt x="366512" y="242261"/>
                    </a:lnTo>
                    <a:cubicBezTo>
                      <a:pt x="366512" y="207390"/>
                      <a:pt x="357303" y="179860"/>
                      <a:pt x="337044" y="159672"/>
                    </a:cubicBezTo>
                    <a:cubicBezTo>
                      <a:pt x="318626" y="139484"/>
                      <a:pt x="291000" y="130307"/>
                      <a:pt x="257848" y="130307"/>
                    </a:cubicBezTo>
                    <a:cubicBezTo>
                      <a:pt x="221012" y="130307"/>
                      <a:pt x="191544" y="141319"/>
                      <a:pt x="171285" y="165178"/>
                    </a:cubicBezTo>
                    <a:cubicBezTo>
                      <a:pt x="149184" y="187202"/>
                      <a:pt x="139975" y="222073"/>
                      <a:pt x="139975" y="264285"/>
                    </a:cubicBezTo>
                    <a:lnTo>
                      <a:pt x="139975" y="556099"/>
                    </a:lnTo>
                    <a:lnTo>
                      <a:pt x="0" y="556099"/>
                    </a:lnTo>
                    <a:lnTo>
                      <a:pt x="0" y="16518"/>
                    </a:lnTo>
                    <a:lnTo>
                      <a:pt x="139975" y="16518"/>
                    </a:lnTo>
                    <a:lnTo>
                      <a:pt x="139975" y="77083"/>
                    </a:lnTo>
                    <a:cubicBezTo>
                      <a:pt x="173126" y="25694"/>
                      <a:pt x="226538" y="0"/>
                      <a:pt x="302050" y="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38" name="Freeform 46">
                <a:extLst>
                  <a:ext uri="{FF2B5EF4-FFF2-40B4-BE49-F238E27FC236}">
                    <a16:creationId xmlns:a16="http://schemas.microsoft.com/office/drawing/2014/main" id="{DB857709-4629-6541-A8C2-2BD13C85A9E8}"/>
                  </a:ext>
                </a:extLst>
              </p:cNvPr>
              <p:cNvSpPr/>
              <p:nvPr/>
            </p:nvSpPr>
            <p:spPr>
              <a:xfrm>
                <a:off x="6935847" y="3109656"/>
                <a:ext cx="445708" cy="568946"/>
              </a:xfrm>
              <a:custGeom>
                <a:avLst/>
                <a:gdLst>
                  <a:gd name="connsiteX0" fmla="*/ 165759 w 445708"/>
                  <a:gd name="connsiteY0" fmla="*/ 168848 h 568946"/>
                  <a:gd name="connsiteX1" fmla="*/ 265215 w 445708"/>
                  <a:gd name="connsiteY1" fmla="*/ 227578 h 568946"/>
                  <a:gd name="connsiteX2" fmla="*/ 327835 w 445708"/>
                  <a:gd name="connsiteY2" fmla="*/ 245932 h 568946"/>
                  <a:gd name="connsiteX3" fmla="*/ 384930 w 445708"/>
                  <a:gd name="connsiteY3" fmla="*/ 275296 h 568946"/>
                  <a:gd name="connsiteX4" fmla="*/ 429132 w 445708"/>
                  <a:gd name="connsiteY4" fmla="*/ 324850 h 568946"/>
                  <a:gd name="connsiteX5" fmla="*/ 445708 w 445708"/>
                  <a:gd name="connsiteY5" fmla="*/ 396427 h 568946"/>
                  <a:gd name="connsiteX6" fmla="*/ 383088 w 445708"/>
                  <a:gd name="connsiteY6" fmla="*/ 524899 h 568946"/>
                  <a:gd name="connsiteX7" fmla="*/ 228379 w 445708"/>
                  <a:gd name="connsiteY7" fmla="*/ 568946 h 568946"/>
                  <a:gd name="connsiteX8" fmla="*/ 0 w 445708"/>
                  <a:gd name="connsiteY8" fmla="*/ 440474 h 568946"/>
                  <a:gd name="connsiteX9" fmla="*/ 121557 w 445708"/>
                  <a:gd name="connsiteY9" fmla="*/ 372568 h 568946"/>
                  <a:gd name="connsiteX10" fmla="*/ 228379 w 445708"/>
                  <a:gd name="connsiteY10" fmla="*/ 442310 h 568946"/>
                  <a:gd name="connsiteX11" fmla="*/ 303892 w 445708"/>
                  <a:gd name="connsiteY11" fmla="*/ 396427 h 568946"/>
                  <a:gd name="connsiteX12" fmla="*/ 204436 w 445708"/>
                  <a:gd name="connsiteY12" fmla="*/ 337697 h 568946"/>
                  <a:gd name="connsiteX13" fmla="*/ 141816 w 445708"/>
                  <a:gd name="connsiteY13" fmla="*/ 317509 h 568946"/>
                  <a:gd name="connsiteX14" fmla="*/ 84721 w 445708"/>
                  <a:gd name="connsiteY14" fmla="*/ 288144 h 568946"/>
                  <a:gd name="connsiteX15" fmla="*/ 38677 w 445708"/>
                  <a:gd name="connsiteY15" fmla="*/ 240426 h 568946"/>
                  <a:gd name="connsiteX16" fmla="*/ 22101 w 445708"/>
                  <a:gd name="connsiteY16" fmla="*/ 170684 h 568946"/>
                  <a:gd name="connsiteX17" fmla="*/ 81038 w 445708"/>
                  <a:gd name="connsiteY17" fmla="*/ 45883 h 568946"/>
                  <a:gd name="connsiteX18" fmla="*/ 228379 w 445708"/>
                  <a:gd name="connsiteY18" fmla="*/ 0 h 568946"/>
                  <a:gd name="connsiteX19" fmla="*/ 348094 w 445708"/>
                  <a:gd name="connsiteY19" fmla="*/ 29365 h 568946"/>
                  <a:gd name="connsiteX20" fmla="*/ 434658 w 445708"/>
                  <a:gd name="connsiteY20" fmla="*/ 113789 h 568946"/>
                  <a:gd name="connsiteX21" fmla="*/ 314943 w 445708"/>
                  <a:gd name="connsiteY21" fmla="*/ 178025 h 568946"/>
                  <a:gd name="connsiteX22" fmla="*/ 228379 w 445708"/>
                  <a:gd name="connsiteY22" fmla="*/ 122966 h 568946"/>
                  <a:gd name="connsiteX23" fmla="*/ 184177 w 445708"/>
                  <a:gd name="connsiteY23" fmla="*/ 135813 h 568946"/>
                  <a:gd name="connsiteX24" fmla="*/ 165759 w 445708"/>
                  <a:gd name="connsiteY24" fmla="*/ 168848 h 568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445708" h="568946">
                    <a:moveTo>
                      <a:pt x="165759" y="168848"/>
                    </a:moveTo>
                    <a:cubicBezTo>
                      <a:pt x="165759" y="192708"/>
                      <a:pt x="198911" y="211061"/>
                      <a:pt x="265215" y="227578"/>
                    </a:cubicBezTo>
                    <a:cubicBezTo>
                      <a:pt x="289158" y="233084"/>
                      <a:pt x="309417" y="238590"/>
                      <a:pt x="327835" y="245932"/>
                    </a:cubicBezTo>
                    <a:cubicBezTo>
                      <a:pt x="346253" y="253273"/>
                      <a:pt x="366512" y="262449"/>
                      <a:pt x="384930" y="275296"/>
                    </a:cubicBezTo>
                    <a:cubicBezTo>
                      <a:pt x="403348" y="288144"/>
                      <a:pt x="419923" y="304661"/>
                      <a:pt x="429132" y="324850"/>
                    </a:cubicBezTo>
                    <a:cubicBezTo>
                      <a:pt x="440183" y="345038"/>
                      <a:pt x="445708" y="370733"/>
                      <a:pt x="445708" y="396427"/>
                    </a:cubicBezTo>
                    <a:cubicBezTo>
                      <a:pt x="445708" y="451486"/>
                      <a:pt x="425449" y="495534"/>
                      <a:pt x="383088" y="524899"/>
                    </a:cubicBezTo>
                    <a:cubicBezTo>
                      <a:pt x="340728" y="554264"/>
                      <a:pt x="289158" y="568946"/>
                      <a:pt x="228379" y="568946"/>
                    </a:cubicBezTo>
                    <a:cubicBezTo>
                      <a:pt x="117873" y="568946"/>
                      <a:pt x="40519" y="526734"/>
                      <a:pt x="0" y="440474"/>
                    </a:cubicBezTo>
                    <a:lnTo>
                      <a:pt x="121557" y="372568"/>
                    </a:lnTo>
                    <a:cubicBezTo>
                      <a:pt x="138133" y="420286"/>
                      <a:pt x="173126" y="442310"/>
                      <a:pt x="228379" y="442310"/>
                    </a:cubicBezTo>
                    <a:cubicBezTo>
                      <a:pt x="278107" y="442310"/>
                      <a:pt x="303892" y="427627"/>
                      <a:pt x="303892" y="396427"/>
                    </a:cubicBezTo>
                    <a:cubicBezTo>
                      <a:pt x="303892" y="372568"/>
                      <a:pt x="270740" y="354215"/>
                      <a:pt x="204436" y="337697"/>
                    </a:cubicBezTo>
                    <a:cubicBezTo>
                      <a:pt x="180493" y="330356"/>
                      <a:pt x="158392" y="324850"/>
                      <a:pt x="141816" y="317509"/>
                    </a:cubicBezTo>
                    <a:cubicBezTo>
                      <a:pt x="125240" y="310167"/>
                      <a:pt x="104981" y="300991"/>
                      <a:pt x="84721" y="288144"/>
                    </a:cubicBezTo>
                    <a:cubicBezTo>
                      <a:pt x="64462" y="275296"/>
                      <a:pt x="49728" y="258779"/>
                      <a:pt x="38677" y="240426"/>
                    </a:cubicBezTo>
                    <a:cubicBezTo>
                      <a:pt x="27627" y="220237"/>
                      <a:pt x="22101" y="198213"/>
                      <a:pt x="22101" y="170684"/>
                    </a:cubicBezTo>
                    <a:cubicBezTo>
                      <a:pt x="22101" y="117460"/>
                      <a:pt x="42360" y="75248"/>
                      <a:pt x="81038" y="45883"/>
                    </a:cubicBezTo>
                    <a:cubicBezTo>
                      <a:pt x="121557" y="14682"/>
                      <a:pt x="169443" y="0"/>
                      <a:pt x="228379" y="0"/>
                    </a:cubicBezTo>
                    <a:cubicBezTo>
                      <a:pt x="272582" y="0"/>
                      <a:pt x="313101" y="9177"/>
                      <a:pt x="348094" y="29365"/>
                    </a:cubicBezTo>
                    <a:cubicBezTo>
                      <a:pt x="384930" y="49553"/>
                      <a:pt x="412556" y="77083"/>
                      <a:pt x="434658" y="113789"/>
                    </a:cubicBezTo>
                    <a:lnTo>
                      <a:pt x="314943" y="178025"/>
                    </a:lnTo>
                    <a:cubicBezTo>
                      <a:pt x="298367" y="141319"/>
                      <a:pt x="268898" y="122966"/>
                      <a:pt x="228379" y="122966"/>
                    </a:cubicBezTo>
                    <a:cubicBezTo>
                      <a:pt x="209962" y="122966"/>
                      <a:pt x="195227" y="126636"/>
                      <a:pt x="184177" y="135813"/>
                    </a:cubicBezTo>
                    <a:cubicBezTo>
                      <a:pt x="171284" y="144989"/>
                      <a:pt x="165759" y="156001"/>
                      <a:pt x="165759" y="168848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39" name="Freeform 47">
                <a:extLst>
                  <a:ext uri="{FF2B5EF4-FFF2-40B4-BE49-F238E27FC236}">
                    <a16:creationId xmlns:a16="http://schemas.microsoft.com/office/drawing/2014/main" id="{D3094D83-8521-8744-A345-2374B12CEE46}"/>
                  </a:ext>
                </a:extLst>
              </p:cNvPr>
              <p:cNvSpPr/>
              <p:nvPr/>
            </p:nvSpPr>
            <p:spPr>
              <a:xfrm>
                <a:off x="7407340" y="2960996"/>
                <a:ext cx="357303" cy="709301"/>
              </a:xfrm>
              <a:custGeom>
                <a:avLst/>
                <a:gdLst>
                  <a:gd name="connsiteX0" fmla="*/ 357304 w 357303"/>
                  <a:gd name="connsiteY0" fmla="*/ 165178 h 709301"/>
                  <a:gd name="connsiteX1" fmla="*/ 357304 w 357303"/>
                  <a:gd name="connsiteY1" fmla="*/ 299155 h 709301"/>
                  <a:gd name="connsiteX2" fmla="*/ 233905 w 357303"/>
                  <a:gd name="connsiteY2" fmla="*/ 299155 h 709301"/>
                  <a:gd name="connsiteX3" fmla="*/ 233905 w 357303"/>
                  <a:gd name="connsiteY3" fmla="*/ 523063 h 709301"/>
                  <a:gd name="connsiteX4" fmla="*/ 248639 w 357303"/>
                  <a:gd name="connsiteY4" fmla="*/ 563440 h 709301"/>
                  <a:gd name="connsiteX5" fmla="*/ 289158 w 357303"/>
                  <a:gd name="connsiteY5" fmla="*/ 578123 h 709301"/>
                  <a:gd name="connsiteX6" fmla="*/ 357304 w 357303"/>
                  <a:gd name="connsiteY6" fmla="*/ 578123 h 709301"/>
                  <a:gd name="connsiteX7" fmla="*/ 357304 w 357303"/>
                  <a:gd name="connsiteY7" fmla="*/ 704759 h 709301"/>
                  <a:gd name="connsiteX8" fmla="*/ 154709 w 357303"/>
                  <a:gd name="connsiteY8" fmla="*/ 679065 h 709301"/>
                  <a:gd name="connsiteX9" fmla="*/ 93930 w 357303"/>
                  <a:gd name="connsiteY9" fmla="*/ 524899 h 709301"/>
                  <a:gd name="connsiteX10" fmla="*/ 93930 w 357303"/>
                  <a:gd name="connsiteY10" fmla="*/ 299155 h 709301"/>
                  <a:gd name="connsiteX11" fmla="*/ 0 w 357303"/>
                  <a:gd name="connsiteY11" fmla="*/ 299155 h 709301"/>
                  <a:gd name="connsiteX12" fmla="*/ 0 w 357303"/>
                  <a:gd name="connsiteY12" fmla="*/ 165178 h 709301"/>
                  <a:gd name="connsiteX13" fmla="*/ 93930 w 357303"/>
                  <a:gd name="connsiteY13" fmla="*/ 165178 h 709301"/>
                  <a:gd name="connsiteX14" fmla="*/ 93930 w 357303"/>
                  <a:gd name="connsiteY14" fmla="*/ 53224 h 709301"/>
                  <a:gd name="connsiteX15" fmla="*/ 193386 w 357303"/>
                  <a:gd name="connsiteY15" fmla="*/ 0 h 709301"/>
                  <a:gd name="connsiteX16" fmla="*/ 233905 w 357303"/>
                  <a:gd name="connsiteY16" fmla="*/ 0 h 709301"/>
                  <a:gd name="connsiteX17" fmla="*/ 233905 w 357303"/>
                  <a:gd name="connsiteY17" fmla="*/ 165178 h 709301"/>
                  <a:gd name="connsiteX18" fmla="*/ 357304 w 357303"/>
                  <a:gd name="connsiteY18" fmla="*/ 165178 h 7093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57303" h="709301">
                    <a:moveTo>
                      <a:pt x="357304" y="165178"/>
                    </a:moveTo>
                    <a:lnTo>
                      <a:pt x="357304" y="299155"/>
                    </a:lnTo>
                    <a:lnTo>
                      <a:pt x="233905" y="299155"/>
                    </a:lnTo>
                    <a:lnTo>
                      <a:pt x="233905" y="523063"/>
                    </a:lnTo>
                    <a:cubicBezTo>
                      <a:pt x="233905" y="541416"/>
                      <a:pt x="239430" y="556099"/>
                      <a:pt x="248639" y="563440"/>
                    </a:cubicBezTo>
                    <a:cubicBezTo>
                      <a:pt x="257848" y="572617"/>
                      <a:pt x="272582" y="576287"/>
                      <a:pt x="289158" y="578123"/>
                    </a:cubicBezTo>
                    <a:cubicBezTo>
                      <a:pt x="307576" y="579958"/>
                      <a:pt x="329677" y="578123"/>
                      <a:pt x="357304" y="578123"/>
                    </a:cubicBezTo>
                    <a:lnTo>
                      <a:pt x="357304" y="704759"/>
                    </a:lnTo>
                    <a:cubicBezTo>
                      <a:pt x="263373" y="715771"/>
                      <a:pt x="195228" y="706594"/>
                      <a:pt x="154709" y="679065"/>
                    </a:cubicBezTo>
                    <a:cubicBezTo>
                      <a:pt x="114190" y="649700"/>
                      <a:pt x="93930" y="598311"/>
                      <a:pt x="93930" y="524899"/>
                    </a:cubicBezTo>
                    <a:lnTo>
                      <a:pt x="93930" y="299155"/>
                    </a:lnTo>
                    <a:lnTo>
                      <a:pt x="0" y="299155"/>
                    </a:lnTo>
                    <a:lnTo>
                      <a:pt x="0" y="165178"/>
                    </a:lnTo>
                    <a:lnTo>
                      <a:pt x="93930" y="165178"/>
                    </a:lnTo>
                    <a:lnTo>
                      <a:pt x="93930" y="53224"/>
                    </a:lnTo>
                    <a:lnTo>
                      <a:pt x="193386" y="0"/>
                    </a:lnTo>
                    <a:lnTo>
                      <a:pt x="233905" y="0"/>
                    </a:lnTo>
                    <a:lnTo>
                      <a:pt x="233905" y="165178"/>
                    </a:lnTo>
                    <a:lnTo>
                      <a:pt x="357304" y="165178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40" name="Freeform 48">
                <a:extLst>
                  <a:ext uri="{FF2B5EF4-FFF2-40B4-BE49-F238E27FC236}">
                    <a16:creationId xmlns:a16="http://schemas.microsoft.com/office/drawing/2014/main" id="{91642D06-21D8-FF40-B2DA-BA99F8B5E3C8}"/>
                  </a:ext>
                </a:extLst>
              </p:cNvPr>
              <p:cNvSpPr/>
              <p:nvPr/>
            </p:nvSpPr>
            <p:spPr>
              <a:xfrm>
                <a:off x="7790428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3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5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3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3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49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49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5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6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3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6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41" name="Freeform 49">
                <a:extLst>
                  <a:ext uri="{FF2B5EF4-FFF2-40B4-BE49-F238E27FC236}">
                    <a16:creationId xmlns:a16="http://schemas.microsoft.com/office/drawing/2014/main" id="{32DCBF13-E0CA-0147-B700-769DBECADE44}"/>
                  </a:ext>
                </a:extLst>
              </p:cNvPr>
              <p:cNvSpPr/>
              <p:nvPr/>
            </p:nvSpPr>
            <p:spPr>
              <a:xfrm>
                <a:off x="8387162" y="3109656"/>
                <a:ext cx="561739" cy="570781"/>
              </a:xfrm>
              <a:custGeom>
                <a:avLst/>
                <a:gdLst>
                  <a:gd name="connsiteX0" fmla="*/ 554373 w 561739"/>
                  <a:gd name="connsiteY0" fmla="*/ 343203 h 570781"/>
                  <a:gd name="connsiteX1" fmla="*/ 145500 w 561739"/>
                  <a:gd name="connsiteY1" fmla="*/ 343203 h 570781"/>
                  <a:gd name="connsiteX2" fmla="*/ 298367 w 561739"/>
                  <a:gd name="connsiteY2" fmla="*/ 444145 h 570781"/>
                  <a:gd name="connsiteX3" fmla="*/ 419924 w 561739"/>
                  <a:gd name="connsiteY3" fmla="*/ 390921 h 570781"/>
                  <a:gd name="connsiteX4" fmla="*/ 532272 w 561739"/>
                  <a:gd name="connsiteY4" fmla="*/ 455157 h 570781"/>
                  <a:gd name="connsiteX5" fmla="*/ 296525 w 561739"/>
                  <a:gd name="connsiteY5" fmla="*/ 570781 h 570781"/>
                  <a:gd name="connsiteX6" fmla="*/ 81038 w 561739"/>
                  <a:gd name="connsiteY6" fmla="*/ 490028 h 570781"/>
                  <a:gd name="connsiteX7" fmla="*/ 0 w 561739"/>
                  <a:gd name="connsiteY7" fmla="*/ 286308 h 570781"/>
                  <a:gd name="connsiteX8" fmla="*/ 81038 w 561739"/>
                  <a:gd name="connsiteY8" fmla="*/ 82589 h 570781"/>
                  <a:gd name="connsiteX9" fmla="*/ 287316 w 561739"/>
                  <a:gd name="connsiteY9" fmla="*/ 0 h 570781"/>
                  <a:gd name="connsiteX10" fmla="*/ 484386 w 561739"/>
                  <a:gd name="connsiteY10" fmla="*/ 82589 h 570781"/>
                  <a:gd name="connsiteX11" fmla="*/ 561740 w 561739"/>
                  <a:gd name="connsiteY11" fmla="*/ 286308 h 570781"/>
                  <a:gd name="connsiteX12" fmla="*/ 554373 w 561739"/>
                  <a:gd name="connsiteY12" fmla="*/ 343203 h 570781"/>
                  <a:gd name="connsiteX13" fmla="*/ 143658 w 561739"/>
                  <a:gd name="connsiteY13" fmla="*/ 234920 h 570781"/>
                  <a:gd name="connsiteX14" fmla="*/ 419924 w 561739"/>
                  <a:gd name="connsiteY14" fmla="*/ 234920 h 570781"/>
                  <a:gd name="connsiteX15" fmla="*/ 372038 w 561739"/>
                  <a:gd name="connsiteY15" fmla="*/ 154166 h 570781"/>
                  <a:gd name="connsiteX16" fmla="*/ 285474 w 561739"/>
                  <a:gd name="connsiteY16" fmla="*/ 126636 h 570781"/>
                  <a:gd name="connsiteX17" fmla="*/ 191544 w 561739"/>
                  <a:gd name="connsiteY17" fmla="*/ 156001 h 570781"/>
                  <a:gd name="connsiteX18" fmla="*/ 143658 w 561739"/>
                  <a:gd name="connsiteY18" fmla="*/ 234920 h 57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61739" h="570781">
                    <a:moveTo>
                      <a:pt x="554373" y="343203"/>
                    </a:moveTo>
                    <a:lnTo>
                      <a:pt x="145500" y="343203"/>
                    </a:lnTo>
                    <a:cubicBezTo>
                      <a:pt x="163917" y="411109"/>
                      <a:pt x="213645" y="444145"/>
                      <a:pt x="298367" y="444145"/>
                    </a:cubicBezTo>
                    <a:cubicBezTo>
                      <a:pt x="351778" y="444145"/>
                      <a:pt x="392297" y="425792"/>
                      <a:pt x="419924" y="390921"/>
                    </a:cubicBezTo>
                    <a:lnTo>
                      <a:pt x="532272" y="455157"/>
                    </a:lnTo>
                    <a:cubicBezTo>
                      <a:pt x="478860" y="532240"/>
                      <a:pt x="399664" y="570781"/>
                      <a:pt x="296525" y="570781"/>
                    </a:cubicBezTo>
                    <a:cubicBezTo>
                      <a:pt x="206278" y="570781"/>
                      <a:pt x="134450" y="543252"/>
                      <a:pt x="81038" y="490028"/>
                    </a:cubicBezTo>
                    <a:cubicBezTo>
                      <a:pt x="27627" y="436804"/>
                      <a:pt x="0" y="367062"/>
                      <a:pt x="0" y="286308"/>
                    </a:cubicBezTo>
                    <a:cubicBezTo>
                      <a:pt x="0" y="205555"/>
                      <a:pt x="27627" y="137648"/>
                      <a:pt x="81038" y="82589"/>
                    </a:cubicBezTo>
                    <a:cubicBezTo>
                      <a:pt x="134450" y="27530"/>
                      <a:pt x="202595" y="0"/>
                      <a:pt x="287316" y="0"/>
                    </a:cubicBezTo>
                    <a:cubicBezTo>
                      <a:pt x="368354" y="0"/>
                      <a:pt x="432816" y="27530"/>
                      <a:pt x="484386" y="82589"/>
                    </a:cubicBezTo>
                    <a:cubicBezTo>
                      <a:pt x="535955" y="137648"/>
                      <a:pt x="561740" y="205555"/>
                      <a:pt x="561740" y="286308"/>
                    </a:cubicBezTo>
                    <a:cubicBezTo>
                      <a:pt x="559898" y="300991"/>
                      <a:pt x="558057" y="321179"/>
                      <a:pt x="554373" y="343203"/>
                    </a:cubicBezTo>
                    <a:close/>
                    <a:moveTo>
                      <a:pt x="143658" y="234920"/>
                    </a:moveTo>
                    <a:lnTo>
                      <a:pt x="419924" y="234920"/>
                    </a:lnTo>
                    <a:cubicBezTo>
                      <a:pt x="412556" y="200049"/>
                      <a:pt x="395981" y="172519"/>
                      <a:pt x="372038" y="154166"/>
                    </a:cubicBezTo>
                    <a:cubicBezTo>
                      <a:pt x="348094" y="135813"/>
                      <a:pt x="318627" y="126636"/>
                      <a:pt x="285474" y="126636"/>
                    </a:cubicBezTo>
                    <a:cubicBezTo>
                      <a:pt x="248639" y="126636"/>
                      <a:pt x="217329" y="135813"/>
                      <a:pt x="191544" y="156001"/>
                    </a:cubicBezTo>
                    <a:cubicBezTo>
                      <a:pt x="167601" y="174354"/>
                      <a:pt x="151025" y="200049"/>
                      <a:pt x="143658" y="234920"/>
                    </a:cubicBez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42" name="Freeform 50">
                <a:extLst>
                  <a:ext uri="{FF2B5EF4-FFF2-40B4-BE49-F238E27FC236}">
                    <a16:creationId xmlns:a16="http://schemas.microsoft.com/office/drawing/2014/main" id="{B87578E9-BE86-D246-928C-D4C0878B5940}"/>
                  </a:ext>
                </a:extLst>
              </p:cNvPr>
              <p:cNvSpPr/>
              <p:nvPr/>
            </p:nvSpPr>
            <p:spPr>
              <a:xfrm>
                <a:off x="8993104" y="2960996"/>
                <a:ext cx="139974" cy="704758"/>
              </a:xfrm>
              <a:custGeom>
                <a:avLst/>
                <a:gdLst>
                  <a:gd name="connsiteX0" fmla="*/ 139975 w 139974"/>
                  <a:gd name="connsiteY0" fmla="*/ 704759 h 704758"/>
                  <a:gd name="connsiteX1" fmla="*/ 0 w 139974"/>
                  <a:gd name="connsiteY1" fmla="*/ 704759 h 704758"/>
                  <a:gd name="connsiteX2" fmla="*/ 0 w 139974"/>
                  <a:gd name="connsiteY2" fmla="*/ 53224 h 704758"/>
                  <a:gd name="connsiteX3" fmla="*/ 99456 w 139974"/>
                  <a:gd name="connsiteY3" fmla="*/ 0 h 704758"/>
                  <a:gd name="connsiteX4" fmla="*/ 139975 w 139974"/>
                  <a:gd name="connsiteY4" fmla="*/ 0 h 704758"/>
                  <a:gd name="connsiteX5" fmla="*/ 139975 w 139974"/>
                  <a:gd name="connsiteY5" fmla="*/ 704759 h 7047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9974" h="704758">
                    <a:moveTo>
                      <a:pt x="139975" y="704759"/>
                    </a:moveTo>
                    <a:lnTo>
                      <a:pt x="0" y="704759"/>
                    </a:lnTo>
                    <a:lnTo>
                      <a:pt x="0" y="53224"/>
                    </a:lnTo>
                    <a:lnTo>
                      <a:pt x="99456" y="0"/>
                    </a:lnTo>
                    <a:lnTo>
                      <a:pt x="139975" y="0"/>
                    </a:lnTo>
                    <a:lnTo>
                      <a:pt x="139975" y="704759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330" name="Graphic 35">
              <a:extLst>
                <a:ext uri="{FF2B5EF4-FFF2-40B4-BE49-F238E27FC236}">
                  <a16:creationId xmlns:a16="http://schemas.microsoft.com/office/drawing/2014/main" id="{BCC907A8-3376-1948-AA87-D5B41EA7400F}"/>
                </a:ext>
              </a:extLst>
            </p:cNvPr>
            <p:cNvGrpSpPr/>
            <p:nvPr/>
          </p:nvGrpSpPr>
          <p:grpSpPr>
            <a:xfrm>
              <a:off x="3066288" y="3109656"/>
              <a:ext cx="812220" cy="557933"/>
              <a:chOff x="3066288" y="3109656"/>
              <a:chExt cx="812220" cy="557933"/>
            </a:xfrm>
            <a:grpFill/>
          </p:grpSpPr>
          <p:sp>
            <p:nvSpPr>
              <p:cNvPr id="331" name="Freeform 39">
                <a:extLst>
                  <a:ext uri="{FF2B5EF4-FFF2-40B4-BE49-F238E27FC236}">
                    <a16:creationId xmlns:a16="http://schemas.microsoft.com/office/drawing/2014/main" id="{C865C0ED-2083-754F-952E-6E67E4B87B7A}"/>
                  </a:ext>
                </a:extLst>
              </p:cNvPr>
              <p:cNvSpPr/>
              <p:nvPr/>
            </p:nvSpPr>
            <p:spPr>
              <a:xfrm>
                <a:off x="3066288" y="3109656"/>
                <a:ext cx="449391" cy="556098"/>
              </a:xfrm>
              <a:custGeom>
                <a:avLst/>
                <a:gdLst>
                  <a:gd name="connsiteX0" fmla="*/ 449392 w 449391"/>
                  <a:gd name="connsiteY0" fmla="*/ 0 h 556098"/>
                  <a:gd name="connsiteX1" fmla="*/ 449392 w 449391"/>
                  <a:gd name="connsiteY1" fmla="*/ 556099 h 556098"/>
                  <a:gd name="connsiteX2" fmla="*/ 401506 w 449391"/>
                  <a:gd name="connsiteY2" fmla="*/ 556099 h 556098"/>
                  <a:gd name="connsiteX3" fmla="*/ 401506 w 449391"/>
                  <a:gd name="connsiteY3" fmla="*/ 282638 h 556098"/>
                  <a:gd name="connsiteX4" fmla="*/ 47886 w 449391"/>
                  <a:gd name="connsiteY4" fmla="*/ 282638 h 556098"/>
                  <a:gd name="connsiteX5" fmla="*/ 47886 w 449391"/>
                  <a:gd name="connsiteY5" fmla="*/ 556099 h 556098"/>
                  <a:gd name="connsiteX6" fmla="*/ 0 w 449391"/>
                  <a:gd name="connsiteY6" fmla="*/ 556099 h 556098"/>
                  <a:gd name="connsiteX7" fmla="*/ 0 w 449391"/>
                  <a:gd name="connsiteY7" fmla="*/ 0 h 556098"/>
                  <a:gd name="connsiteX8" fmla="*/ 47886 w 449391"/>
                  <a:gd name="connsiteY8" fmla="*/ 0 h 556098"/>
                  <a:gd name="connsiteX9" fmla="*/ 47886 w 449391"/>
                  <a:gd name="connsiteY9" fmla="*/ 234920 h 556098"/>
                  <a:gd name="connsiteX10" fmla="*/ 403348 w 449391"/>
                  <a:gd name="connsiteY10" fmla="*/ 234920 h 556098"/>
                  <a:gd name="connsiteX11" fmla="*/ 403348 w 449391"/>
                  <a:gd name="connsiteY11" fmla="*/ 0 h 556098"/>
                  <a:gd name="connsiteX12" fmla="*/ 449392 w 449391"/>
                  <a:gd name="connsiteY12" fmla="*/ 0 h 5560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449391" h="556098">
                    <a:moveTo>
                      <a:pt x="449392" y="0"/>
                    </a:moveTo>
                    <a:lnTo>
                      <a:pt x="449392" y="556099"/>
                    </a:lnTo>
                    <a:lnTo>
                      <a:pt x="401506" y="556099"/>
                    </a:lnTo>
                    <a:lnTo>
                      <a:pt x="401506" y="282638"/>
                    </a:lnTo>
                    <a:lnTo>
                      <a:pt x="47886" y="282638"/>
                    </a:lnTo>
                    <a:lnTo>
                      <a:pt x="47886" y="556099"/>
                    </a:lnTo>
                    <a:lnTo>
                      <a:pt x="0" y="556099"/>
                    </a:lnTo>
                    <a:lnTo>
                      <a:pt x="0" y="0"/>
                    </a:lnTo>
                    <a:lnTo>
                      <a:pt x="47886" y="0"/>
                    </a:lnTo>
                    <a:lnTo>
                      <a:pt x="47886" y="234920"/>
                    </a:lnTo>
                    <a:lnTo>
                      <a:pt x="403348" y="234920"/>
                    </a:lnTo>
                    <a:lnTo>
                      <a:pt x="403348" y="0"/>
                    </a:lnTo>
                    <a:lnTo>
                      <a:pt x="449392" y="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32" name="Freeform 40">
                <a:extLst>
                  <a:ext uri="{FF2B5EF4-FFF2-40B4-BE49-F238E27FC236}">
                    <a16:creationId xmlns:a16="http://schemas.microsoft.com/office/drawing/2014/main" id="{ECFE8B40-72CA-9448-94EF-F9249D15CFEA}"/>
                  </a:ext>
                </a:extLst>
              </p:cNvPr>
              <p:cNvSpPr/>
              <p:nvPr/>
            </p:nvSpPr>
            <p:spPr>
              <a:xfrm>
                <a:off x="3591192" y="3238127"/>
                <a:ext cx="287316" cy="429462"/>
              </a:xfrm>
              <a:custGeom>
                <a:avLst/>
                <a:gdLst>
                  <a:gd name="connsiteX0" fmla="*/ 0 w 287316"/>
                  <a:gd name="connsiteY0" fmla="*/ 387250 h 429462"/>
                  <a:gd name="connsiteX1" fmla="*/ 182335 w 287316"/>
                  <a:gd name="connsiteY1" fmla="*/ 218402 h 429462"/>
                  <a:gd name="connsiteX2" fmla="*/ 228380 w 287316"/>
                  <a:gd name="connsiteY2" fmla="*/ 124801 h 429462"/>
                  <a:gd name="connsiteX3" fmla="*/ 141816 w 287316"/>
                  <a:gd name="connsiteY3" fmla="*/ 47718 h 429462"/>
                  <a:gd name="connsiteX4" fmla="*/ 42361 w 287316"/>
                  <a:gd name="connsiteY4" fmla="*/ 115625 h 429462"/>
                  <a:gd name="connsiteX5" fmla="*/ 0 w 287316"/>
                  <a:gd name="connsiteY5" fmla="*/ 93601 h 429462"/>
                  <a:gd name="connsiteX6" fmla="*/ 141816 w 287316"/>
                  <a:gd name="connsiteY6" fmla="*/ 0 h 429462"/>
                  <a:gd name="connsiteX7" fmla="*/ 278107 w 287316"/>
                  <a:gd name="connsiteY7" fmla="*/ 124801 h 429462"/>
                  <a:gd name="connsiteX8" fmla="*/ 217329 w 287316"/>
                  <a:gd name="connsiteY8" fmla="*/ 251437 h 429462"/>
                  <a:gd name="connsiteX9" fmla="*/ 73671 w 287316"/>
                  <a:gd name="connsiteY9" fmla="*/ 381744 h 429462"/>
                  <a:gd name="connsiteX10" fmla="*/ 287316 w 287316"/>
                  <a:gd name="connsiteY10" fmla="*/ 381744 h 429462"/>
                  <a:gd name="connsiteX11" fmla="*/ 287316 w 287316"/>
                  <a:gd name="connsiteY11" fmla="*/ 429463 h 429462"/>
                  <a:gd name="connsiteX12" fmla="*/ 0 w 287316"/>
                  <a:gd name="connsiteY12" fmla="*/ 429463 h 429462"/>
                  <a:gd name="connsiteX13" fmla="*/ 0 w 287316"/>
                  <a:gd name="connsiteY13" fmla="*/ 387250 h 429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87316" h="429462">
                    <a:moveTo>
                      <a:pt x="0" y="387250"/>
                    </a:moveTo>
                    <a:lnTo>
                      <a:pt x="182335" y="218402"/>
                    </a:lnTo>
                    <a:cubicBezTo>
                      <a:pt x="211804" y="190872"/>
                      <a:pt x="228380" y="156001"/>
                      <a:pt x="228380" y="124801"/>
                    </a:cubicBezTo>
                    <a:cubicBezTo>
                      <a:pt x="228380" y="82589"/>
                      <a:pt x="197069" y="47718"/>
                      <a:pt x="141816" y="47718"/>
                    </a:cubicBezTo>
                    <a:cubicBezTo>
                      <a:pt x="90247" y="47718"/>
                      <a:pt x="58937" y="75248"/>
                      <a:pt x="42361" y="115625"/>
                    </a:cubicBezTo>
                    <a:lnTo>
                      <a:pt x="0" y="93601"/>
                    </a:lnTo>
                    <a:cubicBezTo>
                      <a:pt x="22101" y="36706"/>
                      <a:pt x="71829" y="0"/>
                      <a:pt x="141816" y="0"/>
                    </a:cubicBezTo>
                    <a:cubicBezTo>
                      <a:pt x="226538" y="0"/>
                      <a:pt x="278107" y="56895"/>
                      <a:pt x="278107" y="124801"/>
                    </a:cubicBezTo>
                    <a:cubicBezTo>
                      <a:pt x="278107" y="170684"/>
                      <a:pt x="257848" y="212896"/>
                      <a:pt x="217329" y="251437"/>
                    </a:cubicBezTo>
                    <a:lnTo>
                      <a:pt x="73671" y="381744"/>
                    </a:lnTo>
                    <a:lnTo>
                      <a:pt x="287316" y="381744"/>
                    </a:lnTo>
                    <a:lnTo>
                      <a:pt x="287316" y="429463"/>
                    </a:lnTo>
                    <a:lnTo>
                      <a:pt x="0" y="429463"/>
                    </a:lnTo>
                    <a:lnTo>
                      <a:pt x="0" y="387250"/>
                    </a:lnTo>
                    <a:close/>
                  </a:path>
                </a:pathLst>
              </a:custGeom>
              <a:grpFill/>
              <a:ln w="184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343" name="Slide Number Placeholder 5">
            <a:extLst>
              <a:ext uri="{FF2B5EF4-FFF2-40B4-BE49-F238E27FC236}">
                <a16:creationId xmlns:a16="http://schemas.microsoft.com/office/drawing/2014/main" id="{DA2DC275-030F-3E4C-B6B8-F0DD082FA289}"/>
              </a:ext>
            </a:extLst>
          </p:cNvPr>
          <p:cNvSpPr txBox="1">
            <a:spLocks/>
          </p:cNvSpPr>
          <p:nvPr/>
        </p:nvSpPr>
        <p:spPr>
          <a:xfrm>
            <a:off x="334963" y="6356349"/>
            <a:ext cx="334212" cy="3672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sv-SE"/>
            </a:defPPr>
            <a:lvl1pPr marL="0" algn="l" defTabSz="914400" rtl="0" eaLnBrk="1" latinLnBrk="0" hangingPunct="1">
              <a:defRPr sz="800" b="0" i="0" kern="1200">
                <a:solidFill>
                  <a:schemeClr val="bg1"/>
                </a:solidFill>
                <a:latin typeface="News Gothic MT" panose="020B0503020103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B01FC4-7955-D449-9DAF-9B8EE363BB6A}" type="slidenum">
              <a:rPr lang="sv-SE" smtClean="0"/>
              <a:pPr/>
              <a:t>1</a:t>
            </a:fld>
            <a:endParaRPr lang="sv-SE"/>
          </a:p>
        </p:txBody>
      </p:sp>
      <p:pic>
        <p:nvPicPr>
          <p:cNvPr id="12" name="Bild 11" descr="Hem kontur">
            <a:extLst>
              <a:ext uri="{FF2B5EF4-FFF2-40B4-BE49-F238E27FC236}">
                <a16:creationId xmlns:a16="http://schemas.microsoft.com/office/drawing/2014/main" id="{ACC99CAB-34A2-4145-B6D1-995E6315C5E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875221" y="1852676"/>
            <a:ext cx="914400" cy="914400"/>
          </a:xfrm>
          <a:prstGeom prst="rect">
            <a:avLst/>
          </a:prstGeom>
        </p:spPr>
      </p:pic>
      <p:cxnSp>
        <p:nvCxnSpPr>
          <p:cNvPr id="119" name="Straight Connector 149">
            <a:extLst>
              <a:ext uri="{FF2B5EF4-FFF2-40B4-BE49-F238E27FC236}">
                <a16:creationId xmlns:a16="http://schemas.microsoft.com/office/drawing/2014/main" id="{2F886D96-6D27-8C43-87DB-64C551017B46}"/>
              </a:ext>
            </a:extLst>
          </p:cNvPr>
          <p:cNvCxnSpPr>
            <a:cxnSpLocks/>
          </p:cNvCxnSpPr>
          <p:nvPr/>
        </p:nvCxnSpPr>
        <p:spPr>
          <a:xfrm>
            <a:off x="4156004" y="2478026"/>
            <a:ext cx="4438578" cy="0"/>
          </a:xfrm>
          <a:prstGeom prst="line">
            <a:avLst/>
          </a:prstGeom>
          <a:noFill/>
          <a:ln w="28575" cap="flat" cmpd="sng" algn="ctr">
            <a:solidFill>
              <a:srgbClr val="FFFFFF"/>
            </a:solidFill>
            <a:prstDash val="dash"/>
            <a:miter lim="800000"/>
          </a:ln>
          <a:effectLst/>
        </p:spPr>
      </p:cxnSp>
      <p:cxnSp>
        <p:nvCxnSpPr>
          <p:cNvPr id="120" name="Straight Arrow Connector 121">
            <a:extLst>
              <a:ext uri="{FF2B5EF4-FFF2-40B4-BE49-F238E27FC236}">
                <a16:creationId xmlns:a16="http://schemas.microsoft.com/office/drawing/2014/main" id="{41BA93B8-03C4-BD4A-9CC2-EF5401466E79}"/>
              </a:ext>
            </a:extLst>
          </p:cNvPr>
          <p:cNvCxnSpPr>
            <a:cxnSpLocks/>
          </p:cNvCxnSpPr>
          <p:nvPr/>
        </p:nvCxnSpPr>
        <p:spPr>
          <a:xfrm flipV="1">
            <a:off x="8571234" y="2478409"/>
            <a:ext cx="344052" cy="1"/>
          </a:xfrm>
          <a:prstGeom prst="straightConnector1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115" name="Straight Arrow Connector 112">
            <a:extLst>
              <a:ext uri="{FF2B5EF4-FFF2-40B4-BE49-F238E27FC236}">
                <a16:creationId xmlns:a16="http://schemas.microsoft.com/office/drawing/2014/main" id="{715CA51C-A479-864E-B8D7-5669940F7C9D}"/>
              </a:ext>
            </a:extLst>
          </p:cNvPr>
          <p:cNvCxnSpPr>
            <a:cxnSpLocks/>
          </p:cNvCxnSpPr>
          <p:nvPr/>
        </p:nvCxnSpPr>
        <p:spPr>
          <a:xfrm>
            <a:off x="3225217" y="3860910"/>
            <a:ext cx="513559" cy="0"/>
          </a:xfrm>
          <a:prstGeom prst="straightConnector1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116" name="Straight Arrow Connector 112">
            <a:extLst>
              <a:ext uri="{FF2B5EF4-FFF2-40B4-BE49-F238E27FC236}">
                <a16:creationId xmlns:a16="http://schemas.microsoft.com/office/drawing/2014/main" id="{872F9849-50C5-8F4A-AA5B-11036F13ACBE}"/>
              </a:ext>
            </a:extLst>
          </p:cNvPr>
          <p:cNvCxnSpPr>
            <a:cxnSpLocks/>
          </p:cNvCxnSpPr>
          <p:nvPr/>
        </p:nvCxnSpPr>
        <p:spPr>
          <a:xfrm>
            <a:off x="4542207" y="3794618"/>
            <a:ext cx="513559" cy="0"/>
          </a:xfrm>
          <a:prstGeom prst="straightConnector1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  <a:tailEnd type="arrow"/>
          </a:ln>
          <a:effectLst/>
        </p:spPr>
      </p:cxnSp>
      <p:grpSp>
        <p:nvGrpSpPr>
          <p:cNvPr id="121" name="Group 95">
            <a:extLst>
              <a:ext uri="{FF2B5EF4-FFF2-40B4-BE49-F238E27FC236}">
                <a16:creationId xmlns:a16="http://schemas.microsoft.com/office/drawing/2014/main" id="{669E2F16-C01A-4345-B83F-68B4BE043613}"/>
              </a:ext>
            </a:extLst>
          </p:cNvPr>
          <p:cNvGrpSpPr/>
          <p:nvPr/>
        </p:nvGrpSpPr>
        <p:grpSpPr>
          <a:xfrm>
            <a:off x="6718984" y="3528937"/>
            <a:ext cx="526070" cy="469428"/>
            <a:chOff x="1519238" y="1654176"/>
            <a:chExt cx="730250" cy="646113"/>
          </a:xfrm>
          <a:noFill/>
        </p:grpSpPr>
        <p:sp>
          <p:nvSpPr>
            <p:cNvPr id="122" name="Line 81">
              <a:extLst>
                <a:ext uri="{FF2B5EF4-FFF2-40B4-BE49-F238E27FC236}">
                  <a16:creationId xmlns:a16="http://schemas.microsoft.com/office/drawing/2014/main" id="{41C90130-8F1B-8941-BE21-25A50316822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778000" y="1733551"/>
              <a:ext cx="334963" cy="0"/>
            </a:xfrm>
            <a:prstGeom prst="line">
              <a:avLst/>
            </a:pr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3" name="Freeform 82">
              <a:extLst>
                <a:ext uri="{FF2B5EF4-FFF2-40B4-BE49-F238E27FC236}">
                  <a16:creationId xmlns:a16="http://schemas.microsoft.com/office/drawing/2014/main" id="{A64BD2F3-B129-D247-875C-F72EF2D16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9238" y="1654176"/>
              <a:ext cx="271463" cy="511175"/>
            </a:xfrm>
            <a:custGeom>
              <a:avLst/>
              <a:gdLst>
                <a:gd name="T0" fmla="*/ 0 w 897"/>
                <a:gd name="T1" fmla="*/ 1688 h 1688"/>
                <a:gd name="T2" fmla="*/ 0 w 897"/>
                <a:gd name="T3" fmla="*/ 448 h 1688"/>
                <a:gd name="T4" fmla="*/ 448 w 897"/>
                <a:gd name="T5" fmla="*/ 0 h 1688"/>
                <a:gd name="T6" fmla="*/ 897 w 897"/>
                <a:gd name="T7" fmla="*/ 448 h 1688"/>
                <a:gd name="T8" fmla="*/ 897 w 897"/>
                <a:gd name="T9" fmla="*/ 1688 h 1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7" h="1688">
                  <a:moveTo>
                    <a:pt x="0" y="1688"/>
                  </a:moveTo>
                  <a:lnTo>
                    <a:pt x="0" y="448"/>
                  </a:lnTo>
                  <a:cubicBezTo>
                    <a:pt x="0" y="200"/>
                    <a:pt x="201" y="0"/>
                    <a:pt x="448" y="0"/>
                  </a:cubicBezTo>
                  <a:cubicBezTo>
                    <a:pt x="696" y="0"/>
                    <a:pt x="897" y="200"/>
                    <a:pt x="897" y="448"/>
                  </a:cubicBezTo>
                  <a:lnTo>
                    <a:pt x="897" y="1688"/>
                  </a:lnTo>
                </a:path>
              </a:pathLst>
            </a:custGeom>
            <a:grpFill/>
            <a:ln w="9525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4" name="Oval 83">
              <a:extLst>
                <a:ext uri="{FF2B5EF4-FFF2-40B4-BE49-F238E27FC236}">
                  <a16:creationId xmlns:a16="http://schemas.microsoft.com/office/drawing/2014/main" id="{077C6D4F-BA8E-244A-A7E7-C5DA85DC7C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9238" y="2028826"/>
              <a:ext cx="271463" cy="271463"/>
            </a:xfrm>
            <a:prstGeom prst="ellipse">
              <a:avLst/>
            </a:pr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5" name="Freeform 84">
              <a:extLst>
                <a:ext uri="{FF2B5EF4-FFF2-40B4-BE49-F238E27FC236}">
                  <a16:creationId xmlns:a16="http://schemas.microsoft.com/office/drawing/2014/main" id="{C9B3402A-F71A-3046-B5BC-04F37DF9A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175" y="1654176"/>
              <a:ext cx="595313" cy="646113"/>
            </a:xfrm>
            <a:custGeom>
              <a:avLst/>
              <a:gdLst>
                <a:gd name="T0" fmla="*/ 0 w 1965"/>
                <a:gd name="T1" fmla="*/ 2136 h 2136"/>
                <a:gd name="T2" fmla="*/ 1517 w 1965"/>
                <a:gd name="T3" fmla="*/ 2136 h 2136"/>
                <a:gd name="T4" fmla="*/ 1965 w 1965"/>
                <a:gd name="T5" fmla="*/ 1688 h 2136"/>
                <a:gd name="T6" fmla="*/ 1517 w 1965"/>
                <a:gd name="T7" fmla="*/ 1240 h 2136"/>
                <a:gd name="T8" fmla="*/ 1517 w 1965"/>
                <a:gd name="T9" fmla="*/ 0 h 2136"/>
                <a:gd name="T10" fmla="*/ 1965 w 1965"/>
                <a:gd name="T11" fmla="*/ 448 h 2136"/>
                <a:gd name="T12" fmla="*/ 1965 w 1965"/>
                <a:gd name="T13" fmla="*/ 1688 h 2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65" h="2136">
                  <a:moveTo>
                    <a:pt x="0" y="2136"/>
                  </a:moveTo>
                  <a:lnTo>
                    <a:pt x="1517" y="2136"/>
                  </a:lnTo>
                  <a:cubicBezTo>
                    <a:pt x="1765" y="2136"/>
                    <a:pt x="1965" y="1936"/>
                    <a:pt x="1965" y="1688"/>
                  </a:cubicBezTo>
                  <a:cubicBezTo>
                    <a:pt x="1965" y="1440"/>
                    <a:pt x="1765" y="1240"/>
                    <a:pt x="1517" y="1240"/>
                  </a:cubicBezTo>
                  <a:lnTo>
                    <a:pt x="1517" y="0"/>
                  </a:lnTo>
                  <a:cubicBezTo>
                    <a:pt x="1765" y="0"/>
                    <a:pt x="1965" y="200"/>
                    <a:pt x="1965" y="448"/>
                  </a:cubicBezTo>
                  <a:lnTo>
                    <a:pt x="1965" y="1688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126" name="Oval 85">
              <a:extLst>
                <a:ext uri="{FF2B5EF4-FFF2-40B4-BE49-F238E27FC236}">
                  <a16:creationId xmlns:a16="http://schemas.microsoft.com/office/drawing/2014/main" id="{7B7BD273-7385-2343-A4D2-5B23325F45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01788" y="2112963"/>
              <a:ext cx="104775" cy="104775"/>
            </a:xfrm>
            <a:prstGeom prst="ellipse">
              <a:avLst/>
            </a:prstGeom>
            <a:grpFill/>
            <a:ln w="9525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27" name="TextBox 87">
            <a:extLst>
              <a:ext uri="{FF2B5EF4-FFF2-40B4-BE49-F238E27FC236}">
                <a16:creationId xmlns:a16="http://schemas.microsoft.com/office/drawing/2014/main" id="{428A6D64-48D0-A742-89F6-C5DD5B1C5609}"/>
              </a:ext>
            </a:extLst>
          </p:cNvPr>
          <p:cNvSpPr txBox="1"/>
          <p:nvPr/>
        </p:nvSpPr>
        <p:spPr>
          <a:xfrm>
            <a:off x="6203950" y="4246941"/>
            <a:ext cx="1610134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72" eaLnBrk="1" latinLnBrk="0" hangingPunct="1">
              <a:buClr>
                <a:schemeClr val="tx1"/>
              </a:buClr>
              <a:buSzPct val="100000"/>
              <a:buFontTx/>
              <a:buNone/>
              <a:defRPr lang="x-none" sz="1600" baseline="0">
                <a:latin typeface="+mn-lt"/>
              </a:defRPr>
            </a:lvl1pPr>
            <a:lvl2pPr marL="180000" lvl="1" indent="-180054" defTabSz="913572" eaLnBrk="1" latinLnBrk="0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365760" lvl="2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3pPr>
            <a:lvl4pPr marL="548640" lvl="3" indent="-182880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4pPr>
            <a:lvl5pPr marL="731520" lvl="4" indent="-180054" defTabSz="913572" eaLnBrk="1" latinLnBrk="0" hangingPunct="1">
              <a:buClr>
                <a:schemeClr val="accent5"/>
              </a:buClr>
              <a:buSzPct val="100000"/>
              <a:buFont typeface="TKTypeMedium" panose="020B0606040000020004" pitchFamily="34" charset="0"/>
              <a:buChar char="−"/>
              <a:defRPr lang="x-none" sz="1600" baseline="0">
                <a:latin typeface="+mn-lt"/>
              </a:defRPr>
            </a:lvl5pPr>
            <a:lvl6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6pPr>
            <a:lvl7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7pPr>
            <a:lvl8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8pPr>
            <a:lvl9pPr marL="765067" indent="-132825" defTabSz="9135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32" baseline="0">
                <a:latin typeface="+mn-lt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lang="en-US" sz="1200">
                <a:solidFill>
                  <a:srgbClr val="FFFFFF"/>
                </a:solidFill>
              </a:rPr>
              <a:t>Hot Rolling</a:t>
            </a:r>
            <a:br>
              <a:rPr lang="en-US" sz="1200">
                <a:solidFill>
                  <a:srgbClr val="FFFFFF"/>
                </a:solidFill>
              </a:rPr>
            </a:br>
            <a:r>
              <a:rPr lang="en-US" sz="1200">
                <a:solidFill>
                  <a:srgbClr val="FFFFFF"/>
                </a:solidFill>
              </a:rPr>
              <a:t>Mill</a:t>
            </a:r>
          </a:p>
        </p:txBody>
      </p:sp>
      <p:cxnSp>
        <p:nvCxnSpPr>
          <p:cNvPr id="128" name="Straight Arrow Connector 112">
            <a:extLst>
              <a:ext uri="{FF2B5EF4-FFF2-40B4-BE49-F238E27FC236}">
                <a16:creationId xmlns:a16="http://schemas.microsoft.com/office/drawing/2014/main" id="{6996E18D-DBEC-1745-A166-77E912439AB8}"/>
              </a:ext>
            </a:extLst>
          </p:cNvPr>
          <p:cNvCxnSpPr>
            <a:cxnSpLocks/>
          </p:cNvCxnSpPr>
          <p:nvPr/>
        </p:nvCxnSpPr>
        <p:spPr>
          <a:xfrm>
            <a:off x="7365342" y="3745613"/>
            <a:ext cx="513559" cy="0"/>
          </a:xfrm>
          <a:prstGeom prst="straightConnector1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  <a:tailEnd type="arrow"/>
          </a:ln>
          <a:effectLst/>
        </p:spPr>
      </p:cxnSp>
      <p:cxnSp>
        <p:nvCxnSpPr>
          <p:cNvPr id="129" name="Straight Arrow Connector 125">
            <a:extLst>
              <a:ext uri="{FF2B5EF4-FFF2-40B4-BE49-F238E27FC236}">
                <a16:creationId xmlns:a16="http://schemas.microsoft.com/office/drawing/2014/main" id="{FF5C0B75-4A46-A04B-BA0E-99AFB463EC52}"/>
              </a:ext>
            </a:extLst>
          </p:cNvPr>
          <p:cNvCxnSpPr>
            <a:cxnSpLocks/>
          </p:cNvCxnSpPr>
          <p:nvPr/>
        </p:nvCxnSpPr>
        <p:spPr>
          <a:xfrm flipV="1">
            <a:off x="6960014" y="5121002"/>
            <a:ext cx="0" cy="333137"/>
          </a:xfrm>
          <a:prstGeom prst="straightConnector1">
            <a:avLst/>
          </a:prstGeom>
          <a:noFill/>
          <a:ln w="28575" cap="flat" cmpd="sng" algn="ctr">
            <a:solidFill>
              <a:srgbClr val="FFFFFF"/>
            </a:solidFill>
            <a:prstDash val="solid"/>
            <a:miter lim="800000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19231658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htkzhAZw8XHSTG3eg.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htkzhAZw8XHSTG3eg.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NNxsTGp25Ir6TrR8cu1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NNxsTGp25Ir6TrR8cu1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AVXWrnApO0RY1mYPd8f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htkzhAZw8XHSTG3eg.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NNxsTGp25Ir6TrR8cu1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htkzhAZw8XHSTG3eg.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xK.2SC0z.170BgD9Kpl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NNxsTGp25Ir6TrR8cu1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rzHQIGbfhCvIDC25gHp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htkzhAZw8XHSTG3eg.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htkzhAZw8XHSTG3eg.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htkzhAZw8XHSTG3eg.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2 Green Steel – Image Titles">
  <a:themeElements>
    <a:clrScheme name="H2GS">
      <a:dk1>
        <a:srgbClr val="222E3A"/>
      </a:dk1>
      <a:lt1>
        <a:srgbClr val="FFFFFF"/>
      </a:lt1>
      <a:dk2>
        <a:srgbClr val="392F50"/>
      </a:dk2>
      <a:lt2>
        <a:srgbClr val="E7E6E6"/>
      </a:lt2>
      <a:accent1>
        <a:srgbClr val="3A3050"/>
      </a:accent1>
      <a:accent2>
        <a:srgbClr val="B2827F"/>
      </a:accent2>
      <a:accent3>
        <a:srgbClr val="D46D50"/>
      </a:accent3>
      <a:accent4>
        <a:srgbClr val="E9AC53"/>
      </a:accent4>
      <a:accent5>
        <a:srgbClr val="77C1D0"/>
      </a:accent5>
      <a:accent6>
        <a:srgbClr val="7BC4AA"/>
      </a:accent6>
      <a:hlink>
        <a:srgbClr val="78C1D0"/>
      </a:hlink>
      <a:folHlink>
        <a:srgbClr val="7BC4A8"/>
      </a:folHlink>
    </a:clrScheme>
    <a:fontScheme name="H2GS">
      <a:majorFont>
        <a:latin typeface="News Gothic MT"/>
        <a:ea typeface=""/>
        <a:cs typeface=""/>
      </a:majorFont>
      <a:minorFont>
        <a:latin typeface="News Gothic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22E3A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sz="1600" b="0" i="0" spc="-50" baseline="0" dirty="0" smtClean="0">
            <a:latin typeface="News Gothic MT" panose="020B0503020103020203" pitchFamily="34" charset="0"/>
          </a:defRPr>
        </a:defPPr>
      </a:lstStyle>
    </a:txDef>
  </a:objectDefaults>
  <a:extraClrSchemeLst/>
  <a:custClrLst>
    <a:custClr name="Company Blue">
      <a:srgbClr val="203471"/>
    </a:custClr>
    <a:custClr name="Process Green">
      <a:srgbClr val="30AA7A"/>
    </a:custClr>
    <a:custClr name="Dark">
      <a:srgbClr val="222E3A"/>
    </a:custClr>
    <a:custClr name="Dark Purple">
      <a:srgbClr val="3A3151"/>
    </a:custClr>
    <a:custClr name="Mid Purple">
      <a:srgbClr val="504B5D"/>
    </a:custClr>
    <a:custClr name="Light Purple">
      <a:srgbClr val="B1AEB7"/>
    </a:custClr>
    <a:custClr name="Dark XXX">
      <a:srgbClr val="B38281"/>
    </a:custClr>
    <a:custClr name="Mid XXX">
      <a:srgbClr val="BE9E9D"/>
    </a:custClr>
    <a:custClr name="Light XXX">
      <a:srgbClr val="D2BFBE"/>
    </a:custClr>
    <a:custClr name="Red">
      <a:srgbClr val="D56E51"/>
    </a:custClr>
    <a:custClr name="Yellow">
      <a:srgbClr val="EAAD54"/>
    </a:custClr>
    <a:custClr name="Blue">
      <a:srgbClr val="77C2D1"/>
    </a:custClr>
    <a:custClr name="Green">
      <a:srgbClr val="7DC4AA"/>
    </a:custClr>
  </a:custClrLst>
  <a:extLst>
    <a:ext uri="{05A4C25C-085E-4340-85A3-A5531E510DB2}">
      <thm15:themeFamily xmlns:thm15="http://schemas.microsoft.com/office/thememl/2012/main" name="20201211 H2GS Mall" id="{0A2A1330-BB58-6A40-9919-5D1D2CB0816E}" vid="{31B466DD-0AD1-0542-A572-4C94115EF9D6}"/>
    </a:ext>
  </a:extLst>
</a:theme>
</file>

<file path=ppt/theme/theme10.xml><?xml version="1.0" encoding="utf-8"?>
<a:theme xmlns:a="http://schemas.openxmlformats.org/drawingml/2006/main" name="4_H2 Green Steel – Image Titles">
  <a:themeElements>
    <a:clrScheme name="H2GS">
      <a:dk1>
        <a:srgbClr val="222E3A"/>
      </a:dk1>
      <a:lt1>
        <a:srgbClr val="FFFFFF"/>
      </a:lt1>
      <a:dk2>
        <a:srgbClr val="392F50"/>
      </a:dk2>
      <a:lt2>
        <a:srgbClr val="E7E6E6"/>
      </a:lt2>
      <a:accent1>
        <a:srgbClr val="3A3050"/>
      </a:accent1>
      <a:accent2>
        <a:srgbClr val="B2827F"/>
      </a:accent2>
      <a:accent3>
        <a:srgbClr val="D46D50"/>
      </a:accent3>
      <a:accent4>
        <a:srgbClr val="E9AC53"/>
      </a:accent4>
      <a:accent5>
        <a:srgbClr val="77C1D0"/>
      </a:accent5>
      <a:accent6>
        <a:srgbClr val="7BC4AA"/>
      </a:accent6>
      <a:hlink>
        <a:srgbClr val="78C1D0"/>
      </a:hlink>
      <a:folHlink>
        <a:srgbClr val="7BC4A8"/>
      </a:folHlink>
    </a:clrScheme>
    <a:fontScheme name="H2GS">
      <a:majorFont>
        <a:latin typeface="News Gothic MT"/>
        <a:ea typeface=""/>
        <a:cs typeface=""/>
      </a:majorFont>
      <a:minorFont>
        <a:latin typeface="News Gothic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22E3A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sz="1600" b="0" i="0" spc="-50" baseline="0" dirty="0" smtClean="0">
            <a:latin typeface="News Gothic MT" panose="020B0503020103020203" pitchFamily="34" charset="0"/>
          </a:defRPr>
        </a:defPPr>
      </a:lstStyle>
    </a:txDef>
  </a:objectDefaults>
  <a:extraClrSchemeLst/>
  <a:custClrLst>
    <a:custClr name="Company Blue">
      <a:srgbClr val="203471"/>
    </a:custClr>
    <a:custClr name="Process Green">
      <a:srgbClr val="30AA7A"/>
    </a:custClr>
    <a:custClr name="Dark">
      <a:srgbClr val="222E3A"/>
    </a:custClr>
    <a:custClr name="Dark Purple">
      <a:srgbClr val="3A3151"/>
    </a:custClr>
    <a:custClr name="Mid Purple">
      <a:srgbClr val="504B5D"/>
    </a:custClr>
    <a:custClr name="Light Purple">
      <a:srgbClr val="B1AEB7"/>
    </a:custClr>
    <a:custClr name="Dark XXX">
      <a:srgbClr val="B38281"/>
    </a:custClr>
    <a:custClr name="Mid XXX">
      <a:srgbClr val="BE9E9D"/>
    </a:custClr>
    <a:custClr name="Light XXX">
      <a:srgbClr val="D2BFBE"/>
    </a:custClr>
    <a:custClr name="Red">
      <a:srgbClr val="D56E51"/>
    </a:custClr>
    <a:custClr name="Yellow">
      <a:srgbClr val="EAAD54"/>
    </a:custClr>
    <a:custClr name="Blue">
      <a:srgbClr val="77C2D1"/>
    </a:custClr>
    <a:custClr name="Green">
      <a:srgbClr val="7DC4AA"/>
    </a:custClr>
  </a:custClrLst>
  <a:extLst>
    <a:ext uri="{05A4C25C-085E-4340-85A3-A5531E510DB2}">
      <thm15:themeFamily xmlns:thm15="http://schemas.microsoft.com/office/thememl/2012/main" name="20201211 H2GS Mall" id="{0A2A1330-BB58-6A40-9919-5D1D2CB0816E}" vid="{31B466DD-0AD1-0542-A572-4C94115EF9D6}"/>
    </a:ext>
  </a:extLst>
</a:theme>
</file>

<file path=ppt/theme/theme11.xml><?xml version="1.0" encoding="utf-8"?>
<a:theme xmlns:a="http://schemas.openxmlformats.org/drawingml/2006/main" name="6_H2 Green Steel">
  <a:themeElements>
    <a:clrScheme name="H2GS">
      <a:dk1>
        <a:srgbClr val="222E3A"/>
      </a:dk1>
      <a:lt1>
        <a:srgbClr val="FFFFFF"/>
      </a:lt1>
      <a:dk2>
        <a:srgbClr val="392F50"/>
      </a:dk2>
      <a:lt2>
        <a:srgbClr val="E7E6E6"/>
      </a:lt2>
      <a:accent1>
        <a:srgbClr val="3A3050"/>
      </a:accent1>
      <a:accent2>
        <a:srgbClr val="B2827F"/>
      </a:accent2>
      <a:accent3>
        <a:srgbClr val="D46D50"/>
      </a:accent3>
      <a:accent4>
        <a:srgbClr val="E9AC53"/>
      </a:accent4>
      <a:accent5>
        <a:srgbClr val="77C1D0"/>
      </a:accent5>
      <a:accent6>
        <a:srgbClr val="7BC4AA"/>
      </a:accent6>
      <a:hlink>
        <a:srgbClr val="78C1D0"/>
      </a:hlink>
      <a:folHlink>
        <a:srgbClr val="7BC4A8"/>
      </a:folHlink>
    </a:clrScheme>
    <a:fontScheme name="H2GS">
      <a:majorFont>
        <a:latin typeface="News Gothic MT"/>
        <a:ea typeface=""/>
        <a:cs typeface=""/>
      </a:majorFont>
      <a:minorFont>
        <a:latin typeface="News Gothic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600" b="0" i="0" spc="-50" baseline="0" dirty="0" smtClean="0">
            <a:latin typeface="News Gothic MT" panose="020B0503020103020203" pitchFamily="34" charset="0"/>
          </a:defRPr>
        </a:defPPr>
      </a:lstStyle>
    </a:txDef>
  </a:objectDefaults>
  <a:extraClrSchemeLst/>
  <a:custClrLst>
    <a:custClr name="Company Blue">
      <a:srgbClr val="203471"/>
    </a:custClr>
    <a:custClr name="Process Green">
      <a:srgbClr val="30AA7A"/>
    </a:custClr>
    <a:custClr name="Dark">
      <a:srgbClr val="222E3A"/>
    </a:custClr>
    <a:custClr name="Dark Purple">
      <a:srgbClr val="3A3151"/>
    </a:custClr>
    <a:custClr name="Mid Purple">
      <a:srgbClr val="504B5D"/>
    </a:custClr>
    <a:custClr name="Light Purple">
      <a:srgbClr val="B1AEB7"/>
    </a:custClr>
    <a:custClr name="Dark XXX">
      <a:srgbClr val="B38281"/>
    </a:custClr>
    <a:custClr name="Mid XXX">
      <a:srgbClr val="BE9E9D"/>
    </a:custClr>
    <a:custClr name="Light XXX">
      <a:srgbClr val="D2BFBE"/>
    </a:custClr>
    <a:custClr name="Red">
      <a:srgbClr val="D56E51"/>
    </a:custClr>
    <a:custClr name="Yellow">
      <a:srgbClr val="EAAD54"/>
    </a:custClr>
    <a:custClr name="Blue">
      <a:srgbClr val="77C2D1"/>
    </a:custClr>
    <a:custClr name="Green">
      <a:srgbClr val="7DC4AA"/>
    </a:custClr>
  </a:custClrLst>
  <a:extLst>
    <a:ext uri="{05A4C25C-085E-4340-85A3-A5531E510DB2}">
      <thm15:themeFamily xmlns:thm15="http://schemas.microsoft.com/office/thememl/2012/main" name="20201211 H2GS Mall" id="{0A2A1330-BB58-6A40-9919-5D1D2CB0816E}" vid="{76A8B1DF-1EAB-C844-BC9D-65A1AC680674}"/>
    </a:ext>
  </a:extLst>
</a:theme>
</file>

<file path=ppt/theme/theme12.xml><?xml version="1.0" encoding="utf-8"?>
<a:theme xmlns:a="http://schemas.openxmlformats.org/drawingml/2006/main" name="5_H2 Green Steel – Image Titles">
  <a:themeElements>
    <a:clrScheme name="H2GS">
      <a:dk1>
        <a:srgbClr val="222E3A"/>
      </a:dk1>
      <a:lt1>
        <a:srgbClr val="FFFFFF"/>
      </a:lt1>
      <a:dk2>
        <a:srgbClr val="392F50"/>
      </a:dk2>
      <a:lt2>
        <a:srgbClr val="E7E6E6"/>
      </a:lt2>
      <a:accent1>
        <a:srgbClr val="3A3050"/>
      </a:accent1>
      <a:accent2>
        <a:srgbClr val="B2827F"/>
      </a:accent2>
      <a:accent3>
        <a:srgbClr val="D46D50"/>
      </a:accent3>
      <a:accent4>
        <a:srgbClr val="E9AC53"/>
      </a:accent4>
      <a:accent5>
        <a:srgbClr val="77C1D0"/>
      </a:accent5>
      <a:accent6>
        <a:srgbClr val="7BC4AA"/>
      </a:accent6>
      <a:hlink>
        <a:srgbClr val="78C1D0"/>
      </a:hlink>
      <a:folHlink>
        <a:srgbClr val="7BC4A8"/>
      </a:folHlink>
    </a:clrScheme>
    <a:fontScheme name="H2GS">
      <a:majorFont>
        <a:latin typeface="News Gothic MT"/>
        <a:ea typeface=""/>
        <a:cs typeface=""/>
      </a:majorFont>
      <a:minorFont>
        <a:latin typeface="News Gothic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22E3A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sz="1600" b="0" i="0" spc="-50" baseline="0" dirty="0" smtClean="0">
            <a:latin typeface="News Gothic MT" panose="020B0503020103020203" pitchFamily="34" charset="0"/>
          </a:defRPr>
        </a:defPPr>
      </a:lstStyle>
    </a:txDef>
  </a:objectDefaults>
  <a:extraClrSchemeLst/>
  <a:custClrLst>
    <a:custClr name="Company Blue">
      <a:srgbClr val="203471"/>
    </a:custClr>
    <a:custClr name="Process Green">
      <a:srgbClr val="30AA7A"/>
    </a:custClr>
    <a:custClr name="Dark">
      <a:srgbClr val="222E3A"/>
    </a:custClr>
    <a:custClr name="Dark Purple">
      <a:srgbClr val="3A3151"/>
    </a:custClr>
    <a:custClr name="Mid Purple">
      <a:srgbClr val="504B5D"/>
    </a:custClr>
    <a:custClr name="Light Purple">
      <a:srgbClr val="B1AEB7"/>
    </a:custClr>
    <a:custClr name="Dark XXX">
      <a:srgbClr val="B38281"/>
    </a:custClr>
    <a:custClr name="Mid XXX">
      <a:srgbClr val="BE9E9D"/>
    </a:custClr>
    <a:custClr name="Light XXX">
      <a:srgbClr val="D2BFBE"/>
    </a:custClr>
    <a:custClr name="Red">
      <a:srgbClr val="D56E51"/>
    </a:custClr>
    <a:custClr name="Yellow">
      <a:srgbClr val="EAAD54"/>
    </a:custClr>
    <a:custClr name="Blue">
      <a:srgbClr val="77C2D1"/>
    </a:custClr>
    <a:custClr name="Green">
      <a:srgbClr val="7DC4AA"/>
    </a:custClr>
  </a:custClrLst>
  <a:extLst>
    <a:ext uri="{05A4C25C-085E-4340-85A3-A5531E510DB2}">
      <thm15:themeFamily xmlns:thm15="http://schemas.microsoft.com/office/thememl/2012/main" name="20201211 H2GS Mall" id="{0A2A1330-BB58-6A40-9919-5D1D2CB0816E}" vid="{31B466DD-0AD1-0542-A572-4C94115EF9D6}"/>
    </a:ext>
  </a:extLst>
</a:theme>
</file>

<file path=ppt/theme/theme13.xml><?xml version="1.0" encoding="utf-8"?>
<a:theme xmlns:a="http://schemas.openxmlformats.org/drawingml/2006/main" name="7_H2 Green Steel">
  <a:themeElements>
    <a:clrScheme name="H2GS">
      <a:dk1>
        <a:srgbClr val="222E3A"/>
      </a:dk1>
      <a:lt1>
        <a:srgbClr val="FFFFFF"/>
      </a:lt1>
      <a:dk2>
        <a:srgbClr val="392F50"/>
      </a:dk2>
      <a:lt2>
        <a:srgbClr val="E7E6E6"/>
      </a:lt2>
      <a:accent1>
        <a:srgbClr val="3A3050"/>
      </a:accent1>
      <a:accent2>
        <a:srgbClr val="B2827F"/>
      </a:accent2>
      <a:accent3>
        <a:srgbClr val="D46D50"/>
      </a:accent3>
      <a:accent4>
        <a:srgbClr val="E9AC53"/>
      </a:accent4>
      <a:accent5>
        <a:srgbClr val="77C1D0"/>
      </a:accent5>
      <a:accent6>
        <a:srgbClr val="7BC4AA"/>
      </a:accent6>
      <a:hlink>
        <a:srgbClr val="78C1D0"/>
      </a:hlink>
      <a:folHlink>
        <a:srgbClr val="7BC4A8"/>
      </a:folHlink>
    </a:clrScheme>
    <a:fontScheme name="H2GS">
      <a:majorFont>
        <a:latin typeface="News Gothic MT"/>
        <a:ea typeface=""/>
        <a:cs typeface=""/>
      </a:majorFont>
      <a:minorFont>
        <a:latin typeface="News Gothic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600" b="0" i="0" spc="-50" baseline="0" dirty="0" smtClean="0">
            <a:latin typeface="News Gothic MT" panose="020B0503020103020203" pitchFamily="34" charset="0"/>
          </a:defRPr>
        </a:defPPr>
      </a:lstStyle>
    </a:txDef>
  </a:objectDefaults>
  <a:extraClrSchemeLst/>
  <a:custClrLst>
    <a:custClr name="Company Blue">
      <a:srgbClr val="203471"/>
    </a:custClr>
    <a:custClr name="Process Green">
      <a:srgbClr val="30AA7A"/>
    </a:custClr>
    <a:custClr name="Dark">
      <a:srgbClr val="222E3A"/>
    </a:custClr>
    <a:custClr name="Dark Purple">
      <a:srgbClr val="3A3151"/>
    </a:custClr>
    <a:custClr name="Mid Purple">
      <a:srgbClr val="504B5D"/>
    </a:custClr>
    <a:custClr name="Light Purple">
      <a:srgbClr val="B1AEB7"/>
    </a:custClr>
    <a:custClr name="Dark XXX">
      <a:srgbClr val="B38281"/>
    </a:custClr>
    <a:custClr name="Mid XXX">
      <a:srgbClr val="BE9E9D"/>
    </a:custClr>
    <a:custClr name="Light XXX">
      <a:srgbClr val="D2BFBE"/>
    </a:custClr>
    <a:custClr name="Red">
      <a:srgbClr val="D56E51"/>
    </a:custClr>
    <a:custClr name="Yellow">
      <a:srgbClr val="EAAD54"/>
    </a:custClr>
    <a:custClr name="Blue">
      <a:srgbClr val="77C2D1"/>
    </a:custClr>
    <a:custClr name="Green">
      <a:srgbClr val="7DC4AA"/>
    </a:custClr>
  </a:custClrLst>
  <a:extLst>
    <a:ext uri="{05A4C25C-085E-4340-85A3-A5531E510DB2}">
      <thm15:themeFamily xmlns:thm15="http://schemas.microsoft.com/office/thememl/2012/main" name="20201211 H2GS Mall" id="{0A2A1330-BB58-6A40-9919-5D1D2CB0816E}" vid="{76A8B1DF-1EAB-C844-BC9D-65A1AC680674}"/>
    </a:ext>
  </a:extLst>
</a:theme>
</file>

<file path=ppt/theme/theme14.xml><?xml version="1.0" encoding="utf-8"?>
<a:theme xmlns:a="http://schemas.openxmlformats.org/drawingml/2006/main" name="8_H2 Green Steel">
  <a:themeElements>
    <a:clrScheme name="H2GS">
      <a:dk1>
        <a:srgbClr val="222E3A"/>
      </a:dk1>
      <a:lt1>
        <a:srgbClr val="FFFFFF"/>
      </a:lt1>
      <a:dk2>
        <a:srgbClr val="392F50"/>
      </a:dk2>
      <a:lt2>
        <a:srgbClr val="E7E6E6"/>
      </a:lt2>
      <a:accent1>
        <a:srgbClr val="3A3050"/>
      </a:accent1>
      <a:accent2>
        <a:srgbClr val="B2827F"/>
      </a:accent2>
      <a:accent3>
        <a:srgbClr val="D46D50"/>
      </a:accent3>
      <a:accent4>
        <a:srgbClr val="E9AC53"/>
      </a:accent4>
      <a:accent5>
        <a:srgbClr val="77C1D0"/>
      </a:accent5>
      <a:accent6>
        <a:srgbClr val="7BC4AA"/>
      </a:accent6>
      <a:hlink>
        <a:srgbClr val="78C1D0"/>
      </a:hlink>
      <a:folHlink>
        <a:srgbClr val="7BC4A8"/>
      </a:folHlink>
    </a:clrScheme>
    <a:fontScheme name="H2GS">
      <a:majorFont>
        <a:latin typeface="News Gothic MT"/>
        <a:ea typeface=""/>
        <a:cs typeface=""/>
      </a:majorFont>
      <a:minorFont>
        <a:latin typeface="News Gothic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600" b="0" i="0" spc="-50" baseline="0" dirty="0" smtClean="0">
            <a:latin typeface="News Gothic MT" panose="020B0503020103020203" pitchFamily="34" charset="0"/>
          </a:defRPr>
        </a:defPPr>
      </a:lstStyle>
    </a:txDef>
  </a:objectDefaults>
  <a:extraClrSchemeLst/>
  <a:custClrLst>
    <a:custClr name="Company Blue">
      <a:srgbClr val="203471"/>
    </a:custClr>
    <a:custClr name="Process Green">
      <a:srgbClr val="30AA7A"/>
    </a:custClr>
    <a:custClr name="Dark">
      <a:srgbClr val="222E3A"/>
    </a:custClr>
    <a:custClr name="Dark Purple">
      <a:srgbClr val="3A3151"/>
    </a:custClr>
    <a:custClr name="Mid Purple">
      <a:srgbClr val="504B5D"/>
    </a:custClr>
    <a:custClr name="Light Purple">
      <a:srgbClr val="B1AEB7"/>
    </a:custClr>
    <a:custClr name="Dark XXX">
      <a:srgbClr val="B38281"/>
    </a:custClr>
    <a:custClr name="Mid XXX">
      <a:srgbClr val="BE9E9D"/>
    </a:custClr>
    <a:custClr name="Light XXX">
      <a:srgbClr val="D2BFBE"/>
    </a:custClr>
    <a:custClr name="Red">
      <a:srgbClr val="D56E51"/>
    </a:custClr>
    <a:custClr name="Yellow">
      <a:srgbClr val="EAAD54"/>
    </a:custClr>
    <a:custClr name="Blue">
      <a:srgbClr val="77C2D1"/>
    </a:custClr>
    <a:custClr name="Green">
      <a:srgbClr val="7DC4AA"/>
    </a:custClr>
  </a:custClrLst>
  <a:extLst>
    <a:ext uri="{05A4C25C-085E-4340-85A3-A5531E510DB2}">
      <thm15:themeFamily xmlns:thm15="http://schemas.microsoft.com/office/thememl/2012/main" name="20201211 H2GS Mall" id="{0A2A1330-BB58-6A40-9919-5D1D2CB0816E}" vid="{76A8B1DF-1EAB-C844-BC9D-65A1AC680674}"/>
    </a:ext>
  </a:extLst>
</a:theme>
</file>

<file path=ppt/theme/theme15.xml><?xml version="1.0" encoding="utf-8"?>
<a:theme xmlns:a="http://schemas.openxmlformats.org/drawingml/2006/main" name="2_H2 Green Steel – Image Titles">
  <a:themeElements>
    <a:clrScheme name="H2GS">
      <a:dk1>
        <a:srgbClr val="222E3A"/>
      </a:dk1>
      <a:lt1>
        <a:srgbClr val="FFFFFF"/>
      </a:lt1>
      <a:dk2>
        <a:srgbClr val="392F50"/>
      </a:dk2>
      <a:lt2>
        <a:srgbClr val="E7E6E6"/>
      </a:lt2>
      <a:accent1>
        <a:srgbClr val="3A3050"/>
      </a:accent1>
      <a:accent2>
        <a:srgbClr val="B2827F"/>
      </a:accent2>
      <a:accent3>
        <a:srgbClr val="D46D50"/>
      </a:accent3>
      <a:accent4>
        <a:srgbClr val="E9AC53"/>
      </a:accent4>
      <a:accent5>
        <a:srgbClr val="77C1D0"/>
      </a:accent5>
      <a:accent6>
        <a:srgbClr val="7BC4AA"/>
      </a:accent6>
      <a:hlink>
        <a:srgbClr val="78C1D0"/>
      </a:hlink>
      <a:folHlink>
        <a:srgbClr val="7BC4A8"/>
      </a:folHlink>
    </a:clrScheme>
    <a:fontScheme name="H2GS">
      <a:majorFont>
        <a:latin typeface="News Gothic MT"/>
        <a:ea typeface=""/>
        <a:cs typeface=""/>
      </a:majorFont>
      <a:minorFont>
        <a:latin typeface="News Gothic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22E3A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sz="1600" b="0" i="0" spc="-50" baseline="0" dirty="0" smtClean="0">
            <a:latin typeface="News Gothic MT" panose="020B0503020103020203" pitchFamily="34" charset="0"/>
          </a:defRPr>
        </a:defPPr>
      </a:lstStyle>
    </a:txDef>
  </a:objectDefaults>
  <a:extraClrSchemeLst/>
  <a:custClrLst>
    <a:custClr name="Company Blue">
      <a:srgbClr val="203471"/>
    </a:custClr>
    <a:custClr name="Process Green">
      <a:srgbClr val="30AA7A"/>
    </a:custClr>
    <a:custClr name="Dark">
      <a:srgbClr val="222E3A"/>
    </a:custClr>
    <a:custClr name="Dark Purple">
      <a:srgbClr val="3A3151"/>
    </a:custClr>
    <a:custClr name="Mid Purple">
      <a:srgbClr val="504B5D"/>
    </a:custClr>
    <a:custClr name="Light Purple">
      <a:srgbClr val="B1AEB7"/>
    </a:custClr>
    <a:custClr name="Dark XXX">
      <a:srgbClr val="B38281"/>
    </a:custClr>
    <a:custClr name="Mid XXX">
      <a:srgbClr val="BE9E9D"/>
    </a:custClr>
    <a:custClr name="Light XXX">
      <a:srgbClr val="D2BFBE"/>
    </a:custClr>
    <a:custClr name="Red">
      <a:srgbClr val="D56E51"/>
    </a:custClr>
    <a:custClr name="Yellow">
      <a:srgbClr val="EAAD54"/>
    </a:custClr>
    <a:custClr name="Blue">
      <a:srgbClr val="77C2D1"/>
    </a:custClr>
    <a:custClr name="Green">
      <a:srgbClr val="7DC4AA"/>
    </a:custClr>
  </a:custClrLst>
  <a:extLst>
    <a:ext uri="{05A4C25C-085E-4340-85A3-A5531E510DB2}">
      <thm15:themeFamily xmlns:thm15="http://schemas.microsoft.com/office/thememl/2012/main" name="20201211 H2GS Mall" id="{0A2A1330-BB58-6A40-9919-5D1D2CB0816E}" vid="{31B466DD-0AD1-0542-A572-4C94115EF9D6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H2 Green Steel">
  <a:themeElements>
    <a:clrScheme name="H2GS">
      <a:dk1>
        <a:srgbClr val="222E3A"/>
      </a:dk1>
      <a:lt1>
        <a:srgbClr val="FFFFFF"/>
      </a:lt1>
      <a:dk2>
        <a:srgbClr val="392F50"/>
      </a:dk2>
      <a:lt2>
        <a:srgbClr val="E7E6E6"/>
      </a:lt2>
      <a:accent1>
        <a:srgbClr val="3A3050"/>
      </a:accent1>
      <a:accent2>
        <a:srgbClr val="B2827F"/>
      </a:accent2>
      <a:accent3>
        <a:srgbClr val="D46D50"/>
      </a:accent3>
      <a:accent4>
        <a:srgbClr val="E9AC53"/>
      </a:accent4>
      <a:accent5>
        <a:srgbClr val="77C1D0"/>
      </a:accent5>
      <a:accent6>
        <a:srgbClr val="7BC4AA"/>
      </a:accent6>
      <a:hlink>
        <a:srgbClr val="78C1D0"/>
      </a:hlink>
      <a:folHlink>
        <a:srgbClr val="7BC4A8"/>
      </a:folHlink>
    </a:clrScheme>
    <a:fontScheme name="H2GS">
      <a:majorFont>
        <a:latin typeface="News Gothic MT"/>
        <a:ea typeface=""/>
        <a:cs typeface=""/>
      </a:majorFont>
      <a:minorFont>
        <a:latin typeface="News Gothic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600" b="0" i="0" spc="-50" baseline="0" dirty="0" smtClean="0">
            <a:latin typeface="News Gothic MT" panose="020B0503020103020203" pitchFamily="34" charset="0"/>
          </a:defRPr>
        </a:defPPr>
      </a:lstStyle>
    </a:txDef>
  </a:objectDefaults>
  <a:extraClrSchemeLst/>
  <a:custClrLst>
    <a:custClr name="Company Blue">
      <a:srgbClr val="203471"/>
    </a:custClr>
    <a:custClr name="Process Green">
      <a:srgbClr val="30AA7A"/>
    </a:custClr>
    <a:custClr name="Dark">
      <a:srgbClr val="222E3A"/>
    </a:custClr>
    <a:custClr name="Dark Purple">
      <a:srgbClr val="3A3151"/>
    </a:custClr>
    <a:custClr name="Mid Purple">
      <a:srgbClr val="504B5D"/>
    </a:custClr>
    <a:custClr name="Light Purple">
      <a:srgbClr val="B1AEB7"/>
    </a:custClr>
    <a:custClr name="Dark XXX">
      <a:srgbClr val="B38281"/>
    </a:custClr>
    <a:custClr name="Mid XXX">
      <a:srgbClr val="BE9E9D"/>
    </a:custClr>
    <a:custClr name="Light XXX">
      <a:srgbClr val="D2BFBE"/>
    </a:custClr>
    <a:custClr name="Red">
      <a:srgbClr val="D56E51"/>
    </a:custClr>
    <a:custClr name="Yellow">
      <a:srgbClr val="EAAD54"/>
    </a:custClr>
    <a:custClr name="Blue">
      <a:srgbClr val="77C2D1"/>
    </a:custClr>
    <a:custClr name="Green">
      <a:srgbClr val="7DC4AA"/>
    </a:custClr>
  </a:custClrLst>
  <a:extLst>
    <a:ext uri="{05A4C25C-085E-4340-85A3-A5531E510DB2}">
      <thm15:themeFamily xmlns:thm15="http://schemas.microsoft.com/office/thememl/2012/main" name="20201211 H2GS Mall" id="{0A2A1330-BB58-6A40-9919-5D1D2CB0816E}" vid="{76A8B1DF-1EAB-C844-BC9D-65A1AC680674}"/>
    </a:ext>
  </a:extLst>
</a:theme>
</file>

<file path=ppt/theme/theme3.xml><?xml version="1.0" encoding="utf-8"?>
<a:theme xmlns:a="http://schemas.openxmlformats.org/drawingml/2006/main" name="1_H2 Green Steel – Image Titles">
  <a:themeElements>
    <a:clrScheme name="H2GS">
      <a:dk1>
        <a:srgbClr val="222E3A"/>
      </a:dk1>
      <a:lt1>
        <a:srgbClr val="FFFFFF"/>
      </a:lt1>
      <a:dk2>
        <a:srgbClr val="392F50"/>
      </a:dk2>
      <a:lt2>
        <a:srgbClr val="E7E6E6"/>
      </a:lt2>
      <a:accent1>
        <a:srgbClr val="3A3050"/>
      </a:accent1>
      <a:accent2>
        <a:srgbClr val="B2827F"/>
      </a:accent2>
      <a:accent3>
        <a:srgbClr val="D46D50"/>
      </a:accent3>
      <a:accent4>
        <a:srgbClr val="E9AC53"/>
      </a:accent4>
      <a:accent5>
        <a:srgbClr val="77C1D0"/>
      </a:accent5>
      <a:accent6>
        <a:srgbClr val="7BC4AA"/>
      </a:accent6>
      <a:hlink>
        <a:srgbClr val="78C1D0"/>
      </a:hlink>
      <a:folHlink>
        <a:srgbClr val="7BC4A8"/>
      </a:folHlink>
    </a:clrScheme>
    <a:fontScheme name="H2GS">
      <a:majorFont>
        <a:latin typeface="News Gothic MT"/>
        <a:ea typeface=""/>
        <a:cs typeface=""/>
      </a:majorFont>
      <a:minorFont>
        <a:latin typeface="News Gothic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22E3A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sz="1600" b="0" i="0" spc="-50" baseline="0" dirty="0" smtClean="0">
            <a:latin typeface="News Gothic MT" panose="020B0503020103020203" pitchFamily="34" charset="0"/>
          </a:defRPr>
        </a:defPPr>
      </a:lstStyle>
    </a:txDef>
  </a:objectDefaults>
  <a:extraClrSchemeLst/>
  <a:custClrLst>
    <a:custClr name="Company Blue">
      <a:srgbClr val="203471"/>
    </a:custClr>
    <a:custClr name="Process Green">
      <a:srgbClr val="30AA7A"/>
    </a:custClr>
    <a:custClr name="Dark">
      <a:srgbClr val="222E3A"/>
    </a:custClr>
    <a:custClr name="Dark Purple">
      <a:srgbClr val="3A3151"/>
    </a:custClr>
    <a:custClr name="Mid Purple">
      <a:srgbClr val="504B5D"/>
    </a:custClr>
    <a:custClr name="Light Purple">
      <a:srgbClr val="B1AEB7"/>
    </a:custClr>
    <a:custClr name="Dark XXX">
      <a:srgbClr val="B38281"/>
    </a:custClr>
    <a:custClr name="Mid XXX">
      <a:srgbClr val="BE9E9D"/>
    </a:custClr>
    <a:custClr name="Light XXX">
      <a:srgbClr val="D2BFBE"/>
    </a:custClr>
    <a:custClr name="Red">
      <a:srgbClr val="D56E51"/>
    </a:custClr>
    <a:custClr name="Yellow">
      <a:srgbClr val="EAAD54"/>
    </a:custClr>
    <a:custClr name="Blue">
      <a:srgbClr val="77C2D1"/>
    </a:custClr>
    <a:custClr name="Green">
      <a:srgbClr val="7DC4AA"/>
    </a:custClr>
  </a:custClrLst>
  <a:extLst>
    <a:ext uri="{05A4C25C-085E-4340-85A3-A5531E510DB2}">
      <thm15:themeFamily xmlns:thm15="http://schemas.microsoft.com/office/thememl/2012/main" name="20201211 H2GS Mall" id="{0A2A1330-BB58-6A40-9919-5D1D2CB0816E}" vid="{31B466DD-0AD1-0542-A572-4C94115EF9D6}"/>
    </a:ext>
  </a:extLst>
</a:theme>
</file>

<file path=ppt/theme/theme4.xml><?xml version="1.0" encoding="utf-8"?>
<a:theme xmlns:a="http://schemas.openxmlformats.org/drawingml/2006/main" name="1_H2 Green Steel">
  <a:themeElements>
    <a:clrScheme name="H2GS">
      <a:dk1>
        <a:srgbClr val="222E3A"/>
      </a:dk1>
      <a:lt1>
        <a:srgbClr val="FFFFFF"/>
      </a:lt1>
      <a:dk2>
        <a:srgbClr val="392F50"/>
      </a:dk2>
      <a:lt2>
        <a:srgbClr val="E7E6E6"/>
      </a:lt2>
      <a:accent1>
        <a:srgbClr val="3A3050"/>
      </a:accent1>
      <a:accent2>
        <a:srgbClr val="B2827F"/>
      </a:accent2>
      <a:accent3>
        <a:srgbClr val="D46D50"/>
      </a:accent3>
      <a:accent4>
        <a:srgbClr val="E9AC53"/>
      </a:accent4>
      <a:accent5>
        <a:srgbClr val="77C1D0"/>
      </a:accent5>
      <a:accent6>
        <a:srgbClr val="7BC4AA"/>
      </a:accent6>
      <a:hlink>
        <a:srgbClr val="78C1D0"/>
      </a:hlink>
      <a:folHlink>
        <a:srgbClr val="7BC4A8"/>
      </a:folHlink>
    </a:clrScheme>
    <a:fontScheme name="H2GS">
      <a:majorFont>
        <a:latin typeface="News Gothic MT"/>
        <a:ea typeface=""/>
        <a:cs typeface=""/>
      </a:majorFont>
      <a:minorFont>
        <a:latin typeface="News Gothic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600" b="0" i="0" spc="-50" baseline="0" dirty="0" smtClean="0">
            <a:latin typeface="News Gothic MT" panose="020B0503020103020203" pitchFamily="34" charset="0"/>
          </a:defRPr>
        </a:defPPr>
      </a:lstStyle>
    </a:txDef>
  </a:objectDefaults>
  <a:extraClrSchemeLst/>
  <a:custClrLst>
    <a:custClr name="Company Blue">
      <a:srgbClr val="203471"/>
    </a:custClr>
    <a:custClr name="Process Green">
      <a:srgbClr val="30AA7A"/>
    </a:custClr>
    <a:custClr name="Dark">
      <a:srgbClr val="222E3A"/>
    </a:custClr>
    <a:custClr name="Dark Purple">
      <a:srgbClr val="3A3151"/>
    </a:custClr>
    <a:custClr name="Mid Purple">
      <a:srgbClr val="504B5D"/>
    </a:custClr>
    <a:custClr name="Light Purple">
      <a:srgbClr val="B1AEB7"/>
    </a:custClr>
    <a:custClr name="Dark XXX">
      <a:srgbClr val="B38281"/>
    </a:custClr>
    <a:custClr name="Mid XXX">
      <a:srgbClr val="BE9E9D"/>
    </a:custClr>
    <a:custClr name="Light XXX">
      <a:srgbClr val="D2BFBE"/>
    </a:custClr>
    <a:custClr name="Red">
      <a:srgbClr val="D56E51"/>
    </a:custClr>
    <a:custClr name="Yellow">
      <a:srgbClr val="EAAD54"/>
    </a:custClr>
    <a:custClr name="Blue">
      <a:srgbClr val="77C2D1"/>
    </a:custClr>
    <a:custClr name="Green">
      <a:srgbClr val="7DC4AA"/>
    </a:custClr>
  </a:custClrLst>
  <a:extLst>
    <a:ext uri="{05A4C25C-085E-4340-85A3-A5531E510DB2}">
      <thm15:themeFamily xmlns:thm15="http://schemas.microsoft.com/office/thememl/2012/main" name="20201211 H2GS Mall" id="{0A2A1330-BB58-6A40-9919-5D1D2CB0816E}" vid="{76A8B1DF-1EAB-C844-BC9D-65A1AC680674}"/>
    </a:ext>
  </a:extLst>
</a:theme>
</file>

<file path=ppt/theme/theme5.xml><?xml version="1.0" encoding="utf-8"?>
<a:theme xmlns:a="http://schemas.openxmlformats.org/drawingml/2006/main" name="2_H2 Green Steel">
  <a:themeElements>
    <a:clrScheme name="H2GS">
      <a:dk1>
        <a:srgbClr val="222E3A"/>
      </a:dk1>
      <a:lt1>
        <a:srgbClr val="FFFFFF"/>
      </a:lt1>
      <a:dk2>
        <a:srgbClr val="392F50"/>
      </a:dk2>
      <a:lt2>
        <a:srgbClr val="E7E6E6"/>
      </a:lt2>
      <a:accent1>
        <a:srgbClr val="3A3050"/>
      </a:accent1>
      <a:accent2>
        <a:srgbClr val="B2827F"/>
      </a:accent2>
      <a:accent3>
        <a:srgbClr val="D46D50"/>
      </a:accent3>
      <a:accent4>
        <a:srgbClr val="E9AC53"/>
      </a:accent4>
      <a:accent5>
        <a:srgbClr val="77C1D0"/>
      </a:accent5>
      <a:accent6>
        <a:srgbClr val="7BC4AA"/>
      </a:accent6>
      <a:hlink>
        <a:srgbClr val="78C1D0"/>
      </a:hlink>
      <a:folHlink>
        <a:srgbClr val="7BC4A8"/>
      </a:folHlink>
    </a:clrScheme>
    <a:fontScheme name="H2GS">
      <a:majorFont>
        <a:latin typeface="News Gothic MT"/>
        <a:ea typeface=""/>
        <a:cs typeface=""/>
      </a:majorFont>
      <a:minorFont>
        <a:latin typeface="News Gothic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600" b="0" i="0" spc="-50" baseline="0" dirty="0" smtClean="0">
            <a:latin typeface="News Gothic MT" panose="020B0503020103020203" pitchFamily="34" charset="0"/>
          </a:defRPr>
        </a:defPPr>
      </a:lstStyle>
    </a:txDef>
  </a:objectDefaults>
  <a:extraClrSchemeLst/>
  <a:custClrLst>
    <a:custClr name="Company Blue">
      <a:srgbClr val="203471"/>
    </a:custClr>
    <a:custClr name="Process Green">
      <a:srgbClr val="30AA7A"/>
    </a:custClr>
    <a:custClr name="Dark">
      <a:srgbClr val="222E3A"/>
    </a:custClr>
    <a:custClr name="Dark Purple">
      <a:srgbClr val="3A3151"/>
    </a:custClr>
    <a:custClr name="Mid Purple">
      <a:srgbClr val="504B5D"/>
    </a:custClr>
    <a:custClr name="Light Purple">
      <a:srgbClr val="B1AEB7"/>
    </a:custClr>
    <a:custClr name="Dark XXX">
      <a:srgbClr val="B38281"/>
    </a:custClr>
    <a:custClr name="Mid XXX">
      <a:srgbClr val="BE9E9D"/>
    </a:custClr>
    <a:custClr name="Light XXX">
      <a:srgbClr val="D2BFBE"/>
    </a:custClr>
    <a:custClr name="Red">
      <a:srgbClr val="D56E51"/>
    </a:custClr>
    <a:custClr name="Yellow">
      <a:srgbClr val="EAAD54"/>
    </a:custClr>
    <a:custClr name="Blue">
      <a:srgbClr val="77C2D1"/>
    </a:custClr>
    <a:custClr name="Green">
      <a:srgbClr val="7DC4AA"/>
    </a:custClr>
  </a:custClrLst>
  <a:extLst>
    <a:ext uri="{05A4C25C-085E-4340-85A3-A5531E510DB2}">
      <thm15:themeFamily xmlns:thm15="http://schemas.microsoft.com/office/thememl/2012/main" name="20201211 H2GS Mall" id="{0A2A1330-BB58-6A40-9919-5D1D2CB0816E}" vid="{76A8B1DF-1EAB-C844-BC9D-65A1AC680674}"/>
    </a:ext>
  </a:extLst>
</a:theme>
</file>

<file path=ppt/theme/theme6.xml><?xml version="1.0" encoding="utf-8"?>
<a:theme xmlns:a="http://schemas.openxmlformats.org/drawingml/2006/main" name="3_H2 Green Steel">
  <a:themeElements>
    <a:clrScheme name="H2GS">
      <a:dk1>
        <a:srgbClr val="222E3A"/>
      </a:dk1>
      <a:lt1>
        <a:srgbClr val="FFFFFF"/>
      </a:lt1>
      <a:dk2>
        <a:srgbClr val="392F50"/>
      </a:dk2>
      <a:lt2>
        <a:srgbClr val="E7E6E6"/>
      </a:lt2>
      <a:accent1>
        <a:srgbClr val="3A3050"/>
      </a:accent1>
      <a:accent2>
        <a:srgbClr val="B2827F"/>
      </a:accent2>
      <a:accent3>
        <a:srgbClr val="D46D50"/>
      </a:accent3>
      <a:accent4>
        <a:srgbClr val="E9AC53"/>
      </a:accent4>
      <a:accent5>
        <a:srgbClr val="77C1D0"/>
      </a:accent5>
      <a:accent6>
        <a:srgbClr val="7BC4AA"/>
      </a:accent6>
      <a:hlink>
        <a:srgbClr val="78C1D0"/>
      </a:hlink>
      <a:folHlink>
        <a:srgbClr val="7BC4A8"/>
      </a:folHlink>
    </a:clrScheme>
    <a:fontScheme name="H2GS">
      <a:majorFont>
        <a:latin typeface="News Gothic MT"/>
        <a:ea typeface=""/>
        <a:cs typeface=""/>
      </a:majorFont>
      <a:minorFont>
        <a:latin typeface="News Gothic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600" b="0" i="0" spc="-50" baseline="0" dirty="0" smtClean="0">
            <a:latin typeface="News Gothic MT" panose="020B0503020103020203" pitchFamily="34" charset="0"/>
          </a:defRPr>
        </a:defPPr>
      </a:lstStyle>
    </a:txDef>
  </a:objectDefaults>
  <a:extraClrSchemeLst/>
  <a:custClrLst>
    <a:custClr name="Company Blue">
      <a:srgbClr val="203471"/>
    </a:custClr>
    <a:custClr name="Process Green">
      <a:srgbClr val="30AA7A"/>
    </a:custClr>
    <a:custClr name="Dark">
      <a:srgbClr val="222E3A"/>
    </a:custClr>
    <a:custClr name="Dark Purple">
      <a:srgbClr val="3A3151"/>
    </a:custClr>
    <a:custClr name="Mid Purple">
      <a:srgbClr val="504B5D"/>
    </a:custClr>
    <a:custClr name="Light Purple">
      <a:srgbClr val="B1AEB7"/>
    </a:custClr>
    <a:custClr name="Dark XXX">
      <a:srgbClr val="B38281"/>
    </a:custClr>
    <a:custClr name="Mid XXX">
      <a:srgbClr val="BE9E9D"/>
    </a:custClr>
    <a:custClr name="Light XXX">
      <a:srgbClr val="D2BFBE"/>
    </a:custClr>
    <a:custClr name="Red">
      <a:srgbClr val="D56E51"/>
    </a:custClr>
    <a:custClr name="Yellow">
      <a:srgbClr val="EAAD54"/>
    </a:custClr>
    <a:custClr name="Blue">
      <a:srgbClr val="77C2D1"/>
    </a:custClr>
    <a:custClr name="Green">
      <a:srgbClr val="7DC4AA"/>
    </a:custClr>
  </a:custClrLst>
  <a:extLst>
    <a:ext uri="{05A4C25C-085E-4340-85A3-A5531E510DB2}">
      <thm15:themeFamily xmlns:thm15="http://schemas.microsoft.com/office/thememl/2012/main" name="20201211 H2GS Mall" id="{0A2A1330-BB58-6A40-9919-5D1D2CB0816E}" vid="{76A8B1DF-1EAB-C844-BC9D-65A1AC680674}"/>
    </a:ext>
  </a:extLst>
</a:theme>
</file>

<file path=ppt/theme/theme7.xml><?xml version="1.0" encoding="utf-8"?>
<a:theme xmlns:a="http://schemas.openxmlformats.org/drawingml/2006/main" name="4_H2 Green Steel">
  <a:themeElements>
    <a:clrScheme name="H2GS">
      <a:dk1>
        <a:srgbClr val="222E3A"/>
      </a:dk1>
      <a:lt1>
        <a:srgbClr val="FFFFFF"/>
      </a:lt1>
      <a:dk2>
        <a:srgbClr val="392F50"/>
      </a:dk2>
      <a:lt2>
        <a:srgbClr val="E7E6E6"/>
      </a:lt2>
      <a:accent1>
        <a:srgbClr val="3A3050"/>
      </a:accent1>
      <a:accent2>
        <a:srgbClr val="B2827F"/>
      </a:accent2>
      <a:accent3>
        <a:srgbClr val="D46D50"/>
      </a:accent3>
      <a:accent4>
        <a:srgbClr val="E9AC53"/>
      </a:accent4>
      <a:accent5>
        <a:srgbClr val="77C1D0"/>
      </a:accent5>
      <a:accent6>
        <a:srgbClr val="7BC4AA"/>
      </a:accent6>
      <a:hlink>
        <a:srgbClr val="78C1D0"/>
      </a:hlink>
      <a:folHlink>
        <a:srgbClr val="7BC4A8"/>
      </a:folHlink>
    </a:clrScheme>
    <a:fontScheme name="H2GS">
      <a:majorFont>
        <a:latin typeface="News Gothic MT"/>
        <a:ea typeface=""/>
        <a:cs typeface=""/>
      </a:majorFont>
      <a:minorFont>
        <a:latin typeface="News Gothic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600" b="0" i="0" spc="-50" baseline="0" dirty="0" smtClean="0">
            <a:latin typeface="News Gothic MT" panose="020B0503020103020203" pitchFamily="34" charset="0"/>
          </a:defRPr>
        </a:defPPr>
      </a:lstStyle>
    </a:txDef>
  </a:objectDefaults>
  <a:extraClrSchemeLst/>
  <a:custClrLst>
    <a:custClr name="Company Blue">
      <a:srgbClr val="203471"/>
    </a:custClr>
    <a:custClr name="Process Green">
      <a:srgbClr val="30AA7A"/>
    </a:custClr>
    <a:custClr name="Dark">
      <a:srgbClr val="222E3A"/>
    </a:custClr>
    <a:custClr name="Dark Purple">
      <a:srgbClr val="3A3151"/>
    </a:custClr>
    <a:custClr name="Mid Purple">
      <a:srgbClr val="504B5D"/>
    </a:custClr>
    <a:custClr name="Light Purple">
      <a:srgbClr val="B1AEB7"/>
    </a:custClr>
    <a:custClr name="Dark XXX">
      <a:srgbClr val="B38281"/>
    </a:custClr>
    <a:custClr name="Mid XXX">
      <a:srgbClr val="BE9E9D"/>
    </a:custClr>
    <a:custClr name="Light XXX">
      <a:srgbClr val="D2BFBE"/>
    </a:custClr>
    <a:custClr name="Red">
      <a:srgbClr val="D56E51"/>
    </a:custClr>
    <a:custClr name="Yellow">
      <a:srgbClr val="EAAD54"/>
    </a:custClr>
    <a:custClr name="Blue">
      <a:srgbClr val="77C2D1"/>
    </a:custClr>
    <a:custClr name="Green">
      <a:srgbClr val="7DC4AA"/>
    </a:custClr>
  </a:custClrLst>
  <a:extLst>
    <a:ext uri="{05A4C25C-085E-4340-85A3-A5531E510DB2}">
      <thm15:themeFamily xmlns:thm15="http://schemas.microsoft.com/office/thememl/2012/main" name="20201211 H2GS Mall" id="{0A2A1330-BB58-6A40-9919-5D1D2CB0816E}" vid="{76A8B1DF-1EAB-C844-BC9D-65A1AC680674}"/>
    </a:ext>
  </a:extLst>
</a:theme>
</file>

<file path=ppt/theme/theme8.xml><?xml version="1.0" encoding="utf-8"?>
<a:theme xmlns:a="http://schemas.openxmlformats.org/drawingml/2006/main" name="5_H2 Green Steel">
  <a:themeElements>
    <a:clrScheme name="H2GS">
      <a:dk1>
        <a:srgbClr val="222E3A"/>
      </a:dk1>
      <a:lt1>
        <a:srgbClr val="FFFFFF"/>
      </a:lt1>
      <a:dk2>
        <a:srgbClr val="392F50"/>
      </a:dk2>
      <a:lt2>
        <a:srgbClr val="E7E6E6"/>
      </a:lt2>
      <a:accent1>
        <a:srgbClr val="3A3050"/>
      </a:accent1>
      <a:accent2>
        <a:srgbClr val="B2827F"/>
      </a:accent2>
      <a:accent3>
        <a:srgbClr val="D46D50"/>
      </a:accent3>
      <a:accent4>
        <a:srgbClr val="E9AC53"/>
      </a:accent4>
      <a:accent5>
        <a:srgbClr val="77C1D0"/>
      </a:accent5>
      <a:accent6>
        <a:srgbClr val="7BC4AA"/>
      </a:accent6>
      <a:hlink>
        <a:srgbClr val="78C1D0"/>
      </a:hlink>
      <a:folHlink>
        <a:srgbClr val="7BC4A8"/>
      </a:folHlink>
    </a:clrScheme>
    <a:fontScheme name="H2GS">
      <a:majorFont>
        <a:latin typeface="News Gothic MT"/>
        <a:ea typeface=""/>
        <a:cs typeface=""/>
      </a:majorFont>
      <a:minorFont>
        <a:latin typeface="News Gothic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600" b="0" i="0" spc="-50" baseline="0" dirty="0" smtClean="0">
            <a:latin typeface="News Gothic MT" panose="020B0503020103020203" pitchFamily="34" charset="0"/>
          </a:defRPr>
        </a:defPPr>
      </a:lstStyle>
    </a:txDef>
  </a:objectDefaults>
  <a:extraClrSchemeLst/>
  <a:custClrLst>
    <a:custClr name="Company Blue">
      <a:srgbClr val="203471"/>
    </a:custClr>
    <a:custClr name="Process Green">
      <a:srgbClr val="30AA7A"/>
    </a:custClr>
    <a:custClr name="Dark">
      <a:srgbClr val="222E3A"/>
    </a:custClr>
    <a:custClr name="Dark Purple">
      <a:srgbClr val="3A3151"/>
    </a:custClr>
    <a:custClr name="Mid Purple">
      <a:srgbClr val="504B5D"/>
    </a:custClr>
    <a:custClr name="Light Purple">
      <a:srgbClr val="B1AEB7"/>
    </a:custClr>
    <a:custClr name="Dark XXX">
      <a:srgbClr val="B38281"/>
    </a:custClr>
    <a:custClr name="Mid XXX">
      <a:srgbClr val="BE9E9D"/>
    </a:custClr>
    <a:custClr name="Light XXX">
      <a:srgbClr val="D2BFBE"/>
    </a:custClr>
    <a:custClr name="Red">
      <a:srgbClr val="D56E51"/>
    </a:custClr>
    <a:custClr name="Yellow">
      <a:srgbClr val="EAAD54"/>
    </a:custClr>
    <a:custClr name="Blue">
      <a:srgbClr val="77C2D1"/>
    </a:custClr>
    <a:custClr name="Green">
      <a:srgbClr val="7DC4AA"/>
    </a:custClr>
  </a:custClrLst>
  <a:extLst>
    <a:ext uri="{05A4C25C-085E-4340-85A3-A5531E510DB2}">
      <thm15:themeFamily xmlns:thm15="http://schemas.microsoft.com/office/thememl/2012/main" name="20201211 H2GS Mall" id="{0A2A1330-BB58-6A40-9919-5D1D2CB0816E}" vid="{76A8B1DF-1EAB-C844-BC9D-65A1AC680674}"/>
    </a:ext>
  </a:extLst>
</a:theme>
</file>

<file path=ppt/theme/theme9.xml><?xml version="1.0" encoding="utf-8"?>
<a:theme xmlns:a="http://schemas.openxmlformats.org/drawingml/2006/main" name="3_H2 Green Steel – Image Titles">
  <a:themeElements>
    <a:clrScheme name="H2GS">
      <a:dk1>
        <a:srgbClr val="222E3A"/>
      </a:dk1>
      <a:lt1>
        <a:srgbClr val="FFFFFF"/>
      </a:lt1>
      <a:dk2>
        <a:srgbClr val="392F50"/>
      </a:dk2>
      <a:lt2>
        <a:srgbClr val="E7E6E6"/>
      </a:lt2>
      <a:accent1>
        <a:srgbClr val="3A3050"/>
      </a:accent1>
      <a:accent2>
        <a:srgbClr val="B2827F"/>
      </a:accent2>
      <a:accent3>
        <a:srgbClr val="D46D50"/>
      </a:accent3>
      <a:accent4>
        <a:srgbClr val="E9AC53"/>
      </a:accent4>
      <a:accent5>
        <a:srgbClr val="77C1D0"/>
      </a:accent5>
      <a:accent6>
        <a:srgbClr val="7BC4AA"/>
      </a:accent6>
      <a:hlink>
        <a:srgbClr val="78C1D0"/>
      </a:hlink>
      <a:folHlink>
        <a:srgbClr val="7BC4A8"/>
      </a:folHlink>
    </a:clrScheme>
    <a:fontScheme name="H2GS">
      <a:majorFont>
        <a:latin typeface="News Gothic MT"/>
        <a:ea typeface=""/>
        <a:cs typeface=""/>
      </a:majorFont>
      <a:minorFont>
        <a:latin typeface="News Gothic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22E3A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sz="1600" b="0" i="0" spc="-50" baseline="0" dirty="0" smtClean="0">
            <a:latin typeface="News Gothic MT" panose="020B0503020103020203" pitchFamily="34" charset="0"/>
          </a:defRPr>
        </a:defPPr>
      </a:lstStyle>
    </a:txDef>
  </a:objectDefaults>
  <a:extraClrSchemeLst/>
  <a:custClrLst>
    <a:custClr name="Company Blue">
      <a:srgbClr val="203471"/>
    </a:custClr>
    <a:custClr name="Process Green">
      <a:srgbClr val="30AA7A"/>
    </a:custClr>
    <a:custClr name="Dark">
      <a:srgbClr val="222E3A"/>
    </a:custClr>
    <a:custClr name="Dark Purple">
      <a:srgbClr val="3A3151"/>
    </a:custClr>
    <a:custClr name="Mid Purple">
      <a:srgbClr val="504B5D"/>
    </a:custClr>
    <a:custClr name="Light Purple">
      <a:srgbClr val="B1AEB7"/>
    </a:custClr>
    <a:custClr name="Dark XXX">
      <a:srgbClr val="B38281"/>
    </a:custClr>
    <a:custClr name="Mid XXX">
      <a:srgbClr val="BE9E9D"/>
    </a:custClr>
    <a:custClr name="Light XXX">
      <a:srgbClr val="D2BFBE"/>
    </a:custClr>
    <a:custClr name="Red">
      <a:srgbClr val="D56E51"/>
    </a:custClr>
    <a:custClr name="Yellow">
      <a:srgbClr val="EAAD54"/>
    </a:custClr>
    <a:custClr name="Blue">
      <a:srgbClr val="77C2D1"/>
    </a:custClr>
    <a:custClr name="Green">
      <a:srgbClr val="7DC4AA"/>
    </a:custClr>
  </a:custClrLst>
  <a:extLst>
    <a:ext uri="{05A4C25C-085E-4340-85A3-A5531E510DB2}">
      <thm15:themeFamily xmlns:thm15="http://schemas.microsoft.com/office/thememl/2012/main" name="20201211 H2GS Mall" id="{0A2A1330-BB58-6A40-9919-5D1D2CB0816E}" vid="{31B466DD-0AD1-0542-A572-4C94115EF9D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Utvaldabilder xmlns="b71b0a1a-223d-47f6-b8ad-9bf6f0995adc" xsi:nil="true"/>
    <SharedWithUsers xmlns="4ed8cba4-0252-4dec-9df1-0c61cbdb388c">
      <UserInfo>
        <DisplayName>Mathilde Åslund</DisplayName>
        <AccountId>3337</AccountId>
        <AccountType/>
      </UserInfo>
      <UserInfo>
        <DisplayName>Anders Pålsson</DisplayName>
        <AccountId>2320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353AD69975274FB210ABBB44BA5E87" ma:contentTypeVersion="13" ma:contentTypeDescription="Create a new document." ma:contentTypeScope="" ma:versionID="c4bf8aed743f6eaae68342b41c8d727b">
  <xsd:schema xmlns:xsd="http://www.w3.org/2001/XMLSchema" xmlns:xs="http://www.w3.org/2001/XMLSchema" xmlns:p="http://schemas.microsoft.com/office/2006/metadata/properties" xmlns:ns2="4ed8cba4-0252-4dec-9df1-0c61cbdb388c" xmlns:ns3="b71b0a1a-223d-47f6-b8ad-9bf6f0995adc" targetNamespace="http://schemas.microsoft.com/office/2006/metadata/properties" ma:root="true" ma:fieldsID="babaa0271bc3df6882db24a0f6e161dc" ns2:_="" ns3:_="">
    <xsd:import namespace="4ed8cba4-0252-4dec-9df1-0c61cbdb388c"/>
    <xsd:import namespace="b71b0a1a-223d-47f6-b8ad-9bf6f0995ad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Utvaldabild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d8cba4-0252-4dec-9df1-0c61cbdb388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1b0a1a-223d-47f6-b8ad-9bf6f0995ad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Utvaldabilder" ma:index="20" nillable="true" ma:displayName="Utvalda bilder" ma:format="Dropdown" ma:internalName="Utvaldabilder">
      <xsd:simpleType>
        <xsd:restriction base="dms:Choice">
          <xsd:enumeration value="Choice 1"/>
          <xsd:enumeration value="Choice 2"/>
          <xsd:enumeration value="Choice 3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77672C5-1873-4548-8A97-EE5A5708DF52}">
  <ds:schemaRefs>
    <ds:schemaRef ds:uri="b71b0a1a-223d-47f6-b8ad-9bf6f0995adc"/>
    <ds:schemaRef ds:uri="http://purl.org/dc/terms/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4ed8cba4-0252-4dec-9df1-0c61cbdb388c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F911372-0E6C-4C94-B30D-7969DBBFEDB4}">
  <ds:schemaRefs>
    <ds:schemaRef ds:uri="4ed8cba4-0252-4dec-9df1-0c61cbdb388c"/>
    <ds:schemaRef ds:uri="b71b0a1a-223d-47f6-b8ad-9bf6f0995ad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F79FAF2-9A12-4510-B576-54B056601EB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301</TotalTime>
  <Words>102</Words>
  <Application>Microsoft Macintosh PowerPoint</Application>
  <PresentationFormat>Bredbild</PresentationFormat>
  <Paragraphs>26</Paragraphs>
  <Slides>1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5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</vt:i4>
      </vt:variant>
    </vt:vector>
  </HeadingPairs>
  <TitlesOfParts>
    <vt:vector size="21" baseType="lpstr">
      <vt:lpstr>Arial</vt:lpstr>
      <vt:lpstr>Calibri</vt:lpstr>
      <vt:lpstr>News Gothic MT</vt:lpstr>
      <vt:lpstr>Segoe UI</vt:lpstr>
      <vt:lpstr>H2 Green Steel – Image Titles</vt:lpstr>
      <vt:lpstr>H2 Green Steel</vt:lpstr>
      <vt:lpstr>1_H2 Green Steel – Image Titles</vt:lpstr>
      <vt:lpstr>1_H2 Green Steel</vt:lpstr>
      <vt:lpstr>2_H2 Green Steel</vt:lpstr>
      <vt:lpstr>3_H2 Green Steel</vt:lpstr>
      <vt:lpstr>4_H2 Green Steel</vt:lpstr>
      <vt:lpstr>5_H2 Green Steel</vt:lpstr>
      <vt:lpstr>3_H2 Green Steel – Image Titles</vt:lpstr>
      <vt:lpstr>4_H2 Green Steel – Image Titles</vt:lpstr>
      <vt:lpstr>6_H2 Green Steel</vt:lpstr>
      <vt:lpstr>5_H2 Green Steel – Image Titles</vt:lpstr>
      <vt:lpstr>7_H2 Green Steel</vt:lpstr>
      <vt:lpstr>8_H2 Green Steel</vt:lpstr>
      <vt:lpstr>2_H2 Green Steel – Image Titles</vt:lpstr>
      <vt:lpstr>think-cell Slide</vt:lpstr>
      <vt:lpstr>H2 Green Steel: a large-scale CO2-free steel plant built on partnership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subject/>
  <dc:creator>Maria Stern</dc:creator>
  <cp:keywords/>
  <dc:description/>
  <cp:lastModifiedBy>Carl Johan Mix</cp:lastModifiedBy>
  <cp:revision>47</cp:revision>
  <cp:lastPrinted>2021-02-22T09:34:28Z</cp:lastPrinted>
  <dcterms:created xsi:type="dcterms:W3CDTF">2021-02-18T14:20:13Z</dcterms:created>
  <dcterms:modified xsi:type="dcterms:W3CDTF">2021-08-17T12:45:35Z</dcterms:modified>
  <cp:category/>
</cp:coreProperties>
</file>